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1"/>
  </p:notesMasterIdLst>
  <p:sldIdLst>
    <p:sldId id="2144446555" r:id="rId2"/>
    <p:sldId id="603" r:id="rId3"/>
    <p:sldId id="256" r:id="rId4"/>
    <p:sldId id="279" r:id="rId5"/>
    <p:sldId id="278" r:id="rId6"/>
    <p:sldId id="280" r:id="rId7"/>
    <p:sldId id="283" r:id="rId8"/>
    <p:sldId id="276" r:id="rId9"/>
    <p:sldId id="290" r:id="rId10"/>
    <p:sldId id="282" r:id="rId11"/>
    <p:sldId id="294" r:id="rId12"/>
    <p:sldId id="281" r:id="rId13"/>
    <p:sldId id="285" r:id="rId14"/>
    <p:sldId id="2144446556" r:id="rId15"/>
    <p:sldId id="288" r:id="rId16"/>
    <p:sldId id="293" r:id="rId17"/>
    <p:sldId id="284" r:id="rId18"/>
    <p:sldId id="297" r:id="rId19"/>
    <p:sldId id="298" r:id="rId20"/>
    <p:sldId id="299" r:id="rId21"/>
    <p:sldId id="301" r:id="rId22"/>
    <p:sldId id="302" r:id="rId23"/>
    <p:sldId id="303" r:id="rId24"/>
    <p:sldId id="295" r:id="rId25"/>
    <p:sldId id="2144446557" r:id="rId26"/>
    <p:sldId id="286" r:id="rId27"/>
    <p:sldId id="287" r:id="rId28"/>
    <p:sldId id="274" r:id="rId29"/>
    <p:sldId id="275" r:id="rId3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70"/>
    <p:restoredTop sz="95794"/>
  </p:normalViewPr>
  <p:slideViewPr>
    <p:cSldViewPr snapToGrid="0">
      <p:cViewPr varScale="1">
        <p:scale>
          <a:sx n="112" d="100"/>
          <a:sy n="112" d="100"/>
        </p:scale>
        <p:origin x="336"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26T14:33:24.523"/>
    </inkml:context>
    <inkml:brush xml:id="br0">
      <inkml:brushProperty name="width" value="0.17143" units="cm"/>
      <inkml:brushProperty name="height" value="0.17143" units="cm"/>
    </inkml:brush>
  </inkml:definitions>
  <inkml:trace contextRef="#ctx0" brushRef="#br0">1 3478 8027,'48'-59'0,"0"0"0,0 1 0,-1 1 0,-1 0 0,-2 5 0,6-2 0,-2 2 0,7-6 0,0-1 0,6-3 0,1-1-363,2-6 0,3-3 0,-12 13 0,3-2 0,0-1 363,5-6 0,1-1 0,1-2 0,-13 14 0,0 0 0,1-1 0,0 0 0,2-3 0,2 0 0,-1 0 0,-1 0 0,0-1 0,0 0 0,0 0 0,-2 1 0,-1 1 0,0 1 0,-2 0 0,0 0 0,10-13 0,-1 1 0,0 0 0,3-4 0,0 1 0,-2 0 0,-7 10 0,-2 0 0,0 1 0,2-2 0,-1 1 0,0-1 0,-1 2 0,0-1 0,-1 3 0,12-17 0,-1 3 0,-6 7 0,1 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26T14:34:09.465"/>
    </inkml:context>
    <inkml:brush xml:id="br0">
      <inkml:brushProperty name="width" value="0.17143" units="cm"/>
      <inkml:brushProperty name="height" value="0.17143" units="cm"/>
    </inkml:brush>
  </inkml:definitions>
  <inkml:trace contextRef="#ctx0" brushRef="#br0">0 3942 8027,'42'-81'0,"4"12"0,14-7 0,-25 34 0,2-2 0,4-5 0,1-3 0,3-4 0,1-1 0,5-5 0,1-2 0,6-7 0,4-2 0,-17 18 0,2-1 0,0 0 0,2 0 0,0 0 0,1-2 0,5-6 0,2-2 0,-1 1 0,-2 4 0,-1 0 0,0 1-174,-3 2 0,-1 2 0,1-2 0,3-4 0,1 0 1,-2 0 173,-4 4 0,-1 0 0,0-1 0,2-3 0,-1-1 0,0 0 0,0 0 0,-2-1 0,-1 3 0,14-21 0,-3 3-23,-5 4 1,0 1 0,-4 7-1,1 1 23,0-4 0,-1 1 0,-4 8 0,-1 2 0,-4 7 0,0 2 0,-4 7 0,0 2 0,26-25 0,-2 4 0,-8 12 0,-4-1 0,2 5 0,-3 3 0,-2 3 382,-3 0 1,-5 5-383,-2 2 0,-3 2 184,-4 1 0,-3 6-184,-6 4 0,-3 0 0,0 9 0,-3-3 0,4-5 0,-23 25 0,-4-3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26T15:57:00.572"/>
    </inkml:context>
    <inkml:brush xml:id="br0">
      <inkml:brushProperty name="width" value="0.1" units="cm"/>
      <inkml:brushProperty name="height" value="0.1" units="cm"/>
    </inkml:brush>
  </inkml:definitions>
  <inkml:trace contextRef="#ctx0" brushRef="#br0">1 908 24575,'63'-45'0,"0"0"0,-1 0 0,-6 5 0,-2 0 0,1-1 0,3-4 0,0-1 0,-2 1 0,12-11 0,-4 2 0,-7 6 0,-3 2 0,-7 6 0,-3 3 0,23-20 0,-20 19 0,-12 12 0,-9 8 0,-2 4 0,-6 0 0,-6 6 0,-3-2 0,-6 5 0,1-2 0,2-2 0,2 1 0,0 0 0,-3 1 0,-2 4 0,-3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26T15:57:02.788"/>
    </inkml:context>
    <inkml:brush xml:id="br0">
      <inkml:brushProperty name="width" value="0.1" units="cm"/>
      <inkml:brushProperty name="height" value="0.1" units="cm"/>
    </inkml:brush>
  </inkml:definitions>
  <inkml:trace contextRef="#ctx0" brushRef="#br0">1 1 24575,'43'1'0,"0"8"0,2 8 0,-2 10 0,-2 9 0,-2 5 0,-6 3 0,1-1 0,-4-4 0,-2-2 0,-2-4 0,-1-4 0,1-4 0,0-2 0,0 0 0,-2 0 0,2 0 0,0 0 0,0 0 0,0-3 0,-6-1 0,-1 1 0,-2 0 0,1 3 0,1 1 0,2 3 0,3 4 0,2 5 0,2 1 0,2-2 0,-1-1 0,-2-5 0,-1-1 0,1 2 0,-11-15 0,1 2 0,-14-12 0,1 0 0,0 1 0,1 0 0,3 1 0,-1 0 0,1-1 0,-3-1 0,-2-1 0,-2-2 0,-1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26T15:57:15.006"/>
    </inkml:context>
    <inkml:brush xml:id="br0">
      <inkml:brushProperty name="width" value="0.1" units="cm"/>
      <inkml:brushProperty name="height" value="0.1" units="cm"/>
    </inkml:brush>
  </inkml:definitions>
  <inkml:trace contextRef="#ctx0" brushRef="#br0">0 0 24575,'56'0'0,"18"3"0,-24 1 0,5 1 0,7 0 0,3 2 0,9 1 0,2-1 0,4 1 0,0 0 0,-7-1 0,-3 0 0,-13-2 0,-6 0 0,13 1 0,-32-3 0,-11 2 0,-6 0 0,-7 3 0,-3-2 0,-1-1 0,-1 0 0,-1 2 0,-2 15 0,-3 25 0,0 34 0,-1-11 0,1 10 0,0-12 0,0 5 0,1 3-492,0 14 0,0 4 1,1 3 491,0-17 0,-1 2 0,1 0 0,1 0 0,-1-2 0,1 0 0,0-1 0,0 0 0,0-1 0,0-1 0,0 0 0,0-1 0,1 0 0,0 1 0,0-1 0,2-1 0,1 20 0,1 0 0,1-1-320,1-3 1,1 0 0,2-3 319,0-6 0,1-1 0,1-4-25,5 23 0,0-5 25,-3-10 0,-1-5 0,-2-13 0,-1-5 0,4 36 1397,-6-28-1397,-2-16 1029,-3-27-1029,-3-3 57,0-19-57,-2 0 0,-8-3 0,-12-1 0,-14 1 0,-15 5 0,-4 2 0,9 1 0,17-4 0,17-3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26T15:57:15.174"/>
    </inkml:context>
    <inkml:brush xml:id="br0">
      <inkml:brushProperty name="width" value="0.1" units="cm"/>
      <inkml:brushProperty name="height" value="0.1" units="cm"/>
    </inkml:brush>
  </inkml:definitions>
  <inkml:trace contextRef="#ctx0" brushRef="#br0">1 1 24575,'0'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26T15:57:16.956"/>
    </inkml:context>
    <inkml:brush xml:id="br0">
      <inkml:brushProperty name="width" value="0.1" units="cm"/>
      <inkml:brushProperty name="height" value="0.1" units="cm"/>
    </inkml:brush>
  </inkml:definitions>
  <inkml:trace contextRef="#ctx0" brushRef="#br0">822 1 22029,'-27'0'0,"-14"2"1231,-14 3-1231,-7 1 428,7 3-428,8-2 218,8-3-218,8 1 669,-1-2-669,17 0 0,-2 0 0,10-3 0,-5 0 0,-3 2 0,-3 3 0,-1 1 0,-6-1 0,11 0 0,-7-2 0,12 0 0,-1-1 0,-2-2 0,1 0 0,-5 0 0,-4 1 0,-4 2 0,-2 3 0,5 0 0,5 0 0,8-1 0,0-2 0,-1-1 0,-1 1 0,-1 2 0,2 0 0,1 1 0,0-2 0,0 0 0,0-1 0,3 1 0,2-2 0,1 1 0,-1-1 0,0-1 0,1-1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2697FD-735D-CB48-B9FE-5F9EF2B33008}" type="datetimeFigureOut">
              <a:rPr lang="en-US" smtClean="0"/>
              <a:t>2/22/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CE3D8C-6260-4D43-BD1E-03E54EB382DD}" type="slidenum">
              <a:rPr lang="en-US" smtClean="0"/>
              <a:t>‹#›</a:t>
            </a:fld>
            <a:endParaRPr lang="en-US"/>
          </a:p>
        </p:txBody>
      </p:sp>
    </p:spTree>
    <p:extLst>
      <p:ext uri="{BB962C8B-B14F-4D97-AF65-F5344CB8AC3E}">
        <p14:creationId xmlns:p14="http://schemas.microsoft.com/office/powerpoint/2010/main" val="32049723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a:rPr>
              <a:t>Activity to support final year students, especially if they have not secured industry work experience. A mini careers fair featuring alumni from a variety of sectors has been suggested, and aligns with feedback from 3</a:t>
            </a:r>
            <a:r>
              <a:rPr lang="en-US" baseline="30000" dirty="0">
                <a:cs typeface="Arial"/>
              </a:rPr>
              <a:t>rd</a:t>
            </a:r>
            <a:r>
              <a:rPr lang="en-US" dirty="0">
                <a:cs typeface="Arial"/>
              </a:rPr>
              <a:t> years, together with awareness building of central </a:t>
            </a:r>
            <a:r>
              <a:rPr lang="en-US" dirty="0" err="1">
                <a:cs typeface="Arial"/>
              </a:rPr>
              <a:t>suppo</a:t>
            </a:r>
            <a:endParaRPr lang="en-GB" dirty="0"/>
          </a:p>
        </p:txBody>
      </p:sp>
      <p:sp>
        <p:nvSpPr>
          <p:cNvPr id="4" name="Slide Number Placeholder 3"/>
          <p:cNvSpPr>
            <a:spLocks noGrp="1"/>
          </p:cNvSpPr>
          <p:nvPr>
            <p:ph type="sldNum" sz="quarter" idx="5"/>
          </p:nvPr>
        </p:nvSpPr>
        <p:spPr/>
        <p:txBody>
          <a:bodyPr/>
          <a:lstStyle/>
          <a:p>
            <a:pPr defTabSz="693395">
              <a:defRPr/>
            </a:pPr>
            <a:fld id="{00942D00-D33B-6747-961F-9152114FB45F}" type="slidenum">
              <a:rPr lang="en-US">
                <a:solidFill>
                  <a:prstClr val="black"/>
                </a:solidFill>
                <a:latin typeface="Calibri" panose="020F0502020204030204"/>
              </a:rPr>
              <a:pPr defTabSz="693395">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24598678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 Id="rId9"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GB"/>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6AD6EE87-EBD5-4F12-A48A-63ACA297AC8F}" type="datetimeFigureOut">
              <a:rPr lang="en-US" dirty="0"/>
              <a:t>2/22/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4CD73815-2707-4475-8F1A-B873CB631BB4}" type="datetimeFigureOut">
              <a:rPr lang="en-US" dirty="0"/>
              <a:t>2/22/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GB"/>
              <a:t>Click to edit Master title style</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2A4AFB99-0EAB-4182-AFF8-E214C82A68F6}" type="datetimeFigureOut">
              <a:rPr lang="en-US" dirty="0"/>
              <a:t>2/22/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86425889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1" y="0"/>
            <a:ext cx="158751"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7" y="1368598"/>
            <a:ext cx="2311064" cy="353943"/>
          </a:xfr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7" cy="341632"/>
          </a:xfr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7" cy="341632"/>
          </a:xfr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4" y="1993900"/>
            <a:ext cx="2378847" cy="338554"/>
          </a:xfrm>
          <a:noFill/>
        </p:spPr>
        <p:txBody>
          <a:bodyPr lIns="72000" rIns="0" anchor="t">
            <a:spAutoFit/>
          </a:bodyPr>
          <a:lstStyle>
            <a:lvl1pPr marL="0" indent="0" algn="l">
              <a:buNone/>
              <a:defRPr b="1" cap="all" baseline="0">
                <a:solidFill>
                  <a:schemeClr val="accent4"/>
                </a:solidFill>
              </a:defRPr>
            </a:lvl1pPr>
          </a:lstStyle>
          <a:p>
            <a:pPr lvl="0"/>
            <a:r>
              <a:rPr lang="en-GB"/>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9" y="1993900"/>
            <a:ext cx="2378847" cy="341632"/>
          </a:xfrm>
          <a:noFill/>
        </p:spPr>
        <p:txBody>
          <a:bodyPr lIns="72000" rIns="0" anchor="t">
            <a:spAutoFit/>
          </a:bodyPr>
          <a:lstStyle>
            <a:lvl1pPr marL="0" indent="0" algn="l">
              <a:buNone/>
              <a:defRPr b="1" cap="all" baseline="0">
                <a:solidFill>
                  <a:schemeClr val="accent1"/>
                </a:solidFill>
              </a:defRPr>
            </a:lvl1pPr>
          </a:lstStyle>
          <a:p>
            <a:pPr lvl="0"/>
            <a:r>
              <a:rPr lang="en-GB"/>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404787" y="2785487"/>
            <a:ext cx="2378847" cy="1477328"/>
          </a:xfr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405981" y="278548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07174" y="2785487"/>
            <a:ext cx="2378847" cy="1477328"/>
          </a:xfr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9408369" y="278548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9480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334012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ontent slide 3">
    <p:spTree>
      <p:nvGrpSpPr>
        <p:cNvPr id="1" name=""/>
        <p:cNvGrpSpPr/>
        <p:nvPr/>
      </p:nvGrpSpPr>
      <p:grpSpPr>
        <a:xfrm>
          <a:off x="0" y="0"/>
          <a:ext cx="0" cy="0"/>
          <a:chOff x="0" y="0"/>
          <a:chExt cx="0" cy="0"/>
        </a:xfrm>
      </p:grpSpPr>
      <p:sp>
        <p:nvSpPr>
          <p:cNvPr id="13" name="Content Placeholder 2"/>
          <p:cNvSpPr>
            <a:spLocks noGrp="1"/>
          </p:cNvSpPr>
          <p:nvPr>
            <p:ph sz="quarter" idx="10" hasCustomPrompt="1"/>
          </p:nvPr>
        </p:nvSpPr>
        <p:spPr>
          <a:xfrm>
            <a:off x="248795" y="349862"/>
            <a:ext cx="11562796" cy="1381836"/>
          </a:xfrm>
          <a:prstGeom prst="rect">
            <a:avLst/>
          </a:prstGeom>
        </p:spPr>
        <p:txBody>
          <a:bodyPr/>
          <a:lstStyle>
            <a:lvl1pPr marL="0" indent="0">
              <a:buNone/>
              <a:defRPr sz="3333" b="1">
                <a:solidFill>
                  <a:srgbClr val="1C3D74"/>
                </a:solidFill>
                <a:latin typeface="Arial" panose="020B0604020202020204" pitchFamily="34" charset="0"/>
                <a:cs typeface="Arial" panose="020B0604020202020204" pitchFamily="34" charset="0"/>
              </a:defRPr>
            </a:lvl1pPr>
          </a:lstStyle>
          <a:p>
            <a:r>
              <a:rPr lang="en-US"/>
              <a:t>Click to edit slide title (up to 2 lines) – </a:t>
            </a:r>
            <a:br>
              <a:rPr lang="en-US"/>
            </a:br>
            <a:r>
              <a:rPr lang="en-US"/>
              <a:t>Arial Bold 25pt title</a:t>
            </a:r>
          </a:p>
        </p:txBody>
      </p:sp>
      <p:sp>
        <p:nvSpPr>
          <p:cNvPr id="7" name="Text Placeholder 2">
            <a:extLst>
              <a:ext uri="{FF2B5EF4-FFF2-40B4-BE49-F238E27FC236}">
                <a16:creationId xmlns:a16="http://schemas.microsoft.com/office/drawing/2014/main" id="{BF9F98BB-2095-434E-97D1-3636B7E7563C}"/>
              </a:ext>
            </a:extLst>
          </p:cNvPr>
          <p:cNvSpPr>
            <a:spLocks noGrp="1"/>
          </p:cNvSpPr>
          <p:nvPr>
            <p:ph type="body" sz="quarter" idx="13" hasCustomPrompt="1"/>
          </p:nvPr>
        </p:nvSpPr>
        <p:spPr>
          <a:xfrm>
            <a:off x="248796" y="1748367"/>
            <a:ext cx="5703273" cy="3937000"/>
          </a:xfrm>
          <a:prstGeom prst="rect">
            <a:avLst/>
          </a:prstGeom>
        </p:spPr>
        <p:txBody>
          <a:bodyPr/>
          <a:lstStyle>
            <a:lvl1pPr marL="380990" indent="-380990">
              <a:buFont typeface="Arial" panose="020B0604020202020204" pitchFamily="34" charset="0"/>
              <a:buChar char="•"/>
              <a:defRPr sz="1867">
                <a:solidFill>
                  <a:srgbClr val="1C3D74"/>
                </a:solidFill>
                <a:latin typeface="+mj-lt"/>
              </a:defRPr>
            </a:lvl1pPr>
            <a:lvl2pPr>
              <a:buFont typeface="Arial" panose="020B0604020202020204" pitchFamily="34" charset="0"/>
              <a:buChar char="-"/>
              <a:defRPr sz="1867">
                <a:solidFill>
                  <a:srgbClr val="1C3D74"/>
                </a:solidFill>
                <a:latin typeface="+mj-lt"/>
              </a:defRPr>
            </a:lvl2pPr>
            <a:lvl3pPr>
              <a:defRPr>
                <a:solidFill>
                  <a:srgbClr val="1C3D74"/>
                </a:solidFill>
                <a:latin typeface="+mj-lt"/>
              </a:defRPr>
            </a:lvl3pPr>
            <a:lvl4pPr>
              <a:defRPr>
                <a:solidFill>
                  <a:srgbClr val="1C3D74"/>
                </a:solidFill>
                <a:latin typeface="+mj-lt"/>
              </a:defRPr>
            </a:lvl4pPr>
            <a:lvl5pPr>
              <a:defRPr>
                <a:solidFill>
                  <a:srgbClr val="1C3D74"/>
                </a:solidFill>
                <a:latin typeface="+mj-lt"/>
              </a:defRPr>
            </a:lvl5pPr>
          </a:lstStyle>
          <a:p>
            <a:pPr marL="0" indent="0">
              <a:buNone/>
            </a:pPr>
            <a:r>
              <a:rPr lang="en-US"/>
              <a:t>Click to edit Master title style – Arial Regular 14pt</a:t>
            </a:r>
          </a:p>
          <a:p>
            <a:r>
              <a:rPr lang="en-US"/>
              <a:t>Bullet points</a:t>
            </a:r>
          </a:p>
          <a:p>
            <a:pPr>
              <a:defRPr/>
            </a:pPr>
            <a:r>
              <a:rPr lang="en-US"/>
              <a:t>Bullet points</a:t>
            </a:r>
          </a:p>
          <a:p>
            <a:pPr>
              <a:defRPr/>
            </a:pPr>
            <a:r>
              <a:rPr lang="en-US"/>
              <a:t>Bullet points</a:t>
            </a:r>
          </a:p>
          <a:p>
            <a:pPr lvl="1">
              <a:buFont typeface="Arial" panose="020B0604020202020204" pitchFamily="34" charset="0"/>
              <a:buChar char="-"/>
              <a:defRPr/>
            </a:pPr>
            <a:r>
              <a:rPr lang="en-US" sz="1867">
                <a:solidFill>
                  <a:srgbClr val="1C3D74"/>
                </a:solidFill>
                <a:latin typeface="Arial" panose="020B0604020202020204" pitchFamily="34" charset="0"/>
                <a:cs typeface="Arial" panose="020B0604020202020204" pitchFamily="34" charset="0"/>
              </a:rPr>
              <a:t>Sub-bullet point</a:t>
            </a:r>
          </a:p>
          <a:p>
            <a:pPr marL="0" indent="0">
              <a:buNone/>
            </a:pPr>
            <a:endParaRPr lang="en-US"/>
          </a:p>
        </p:txBody>
      </p:sp>
      <p:sp>
        <p:nvSpPr>
          <p:cNvPr id="9" name="Text Placeholder 2">
            <a:extLst>
              <a:ext uri="{FF2B5EF4-FFF2-40B4-BE49-F238E27FC236}">
                <a16:creationId xmlns:a16="http://schemas.microsoft.com/office/drawing/2014/main" id="{35C7A6F9-784D-428C-B9C4-650A70FFC077}"/>
              </a:ext>
            </a:extLst>
          </p:cNvPr>
          <p:cNvSpPr>
            <a:spLocks noGrp="1"/>
          </p:cNvSpPr>
          <p:nvPr>
            <p:ph type="body" sz="quarter" idx="14" hasCustomPrompt="1"/>
          </p:nvPr>
        </p:nvSpPr>
        <p:spPr>
          <a:xfrm>
            <a:off x="6107821" y="1748367"/>
            <a:ext cx="5703273" cy="3937000"/>
          </a:xfrm>
          <a:prstGeom prst="rect">
            <a:avLst/>
          </a:prstGeom>
        </p:spPr>
        <p:txBody>
          <a:bodyPr/>
          <a:lstStyle>
            <a:lvl1pPr marL="380990" indent="-380990">
              <a:buFont typeface="Arial" panose="020B0604020202020204" pitchFamily="34" charset="0"/>
              <a:buChar char="•"/>
              <a:defRPr sz="1867">
                <a:solidFill>
                  <a:srgbClr val="1C3D74"/>
                </a:solidFill>
                <a:latin typeface="+mj-lt"/>
              </a:defRPr>
            </a:lvl1pPr>
            <a:lvl2pPr>
              <a:buFont typeface="Arial" panose="020B0604020202020204" pitchFamily="34" charset="0"/>
              <a:buChar char="-"/>
              <a:defRPr sz="1867">
                <a:solidFill>
                  <a:srgbClr val="1C3D74"/>
                </a:solidFill>
                <a:latin typeface="+mj-lt"/>
              </a:defRPr>
            </a:lvl2pPr>
            <a:lvl3pPr>
              <a:defRPr>
                <a:solidFill>
                  <a:srgbClr val="1C3D74"/>
                </a:solidFill>
                <a:latin typeface="+mj-lt"/>
              </a:defRPr>
            </a:lvl3pPr>
            <a:lvl4pPr>
              <a:defRPr>
                <a:solidFill>
                  <a:srgbClr val="1C3D74"/>
                </a:solidFill>
                <a:latin typeface="+mj-lt"/>
              </a:defRPr>
            </a:lvl4pPr>
            <a:lvl5pPr>
              <a:defRPr>
                <a:solidFill>
                  <a:srgbClr val="1C3D74"/>
                </a:solidFill>
                <a:latin typeface="+mj-lt"/>
              </a:defRPr>
            </a:lvl5pPr>
          </a:lstStyle>
          <a:p>
            <a:pPr marL="0" indent="0">
              <a:buNone/>
            </a:pPr>
            <a:r>
              <a:rPr lang="en-US"/>
              <a:t>Click to edit Master title style – Arial Regular 14pt</a:t>
            </a:r>
          </a:p>
          <a:p>
            <a:r>
              <a:rPr lang="en-US"/>
              <a:t>Bullet points</a:t>
            </a:r>
          </a:p>
          <a:p>
            <a:pPr>
              <a:defRPr/>
            </a:pPr>
            <a:r>
              <a:rPr lang="en-US"/>
              <a:t>Bullet points</a:t>
            </a:r>
          </a:p>
          <a:p>
            <a:pPr>
              <a:defRPr/>
            </a:pPr>
            <a:r>
              <a:rPr lang="en-US"/>
              <a:t>Bullet points</a:t>
            </a:r>
          </a:p>
          <a:p>
            <a:pPr lvl="1">
              <a:buFont typeface="Arial" panose="020B0604020202020204" pitchFamily="34" charset="0"/>
              <a:buChar char="-"/>
              <a:defRPr/>
            </a:pPr>
            <a:r>
              <a:rPr lang="en-US" sz="1867">
                <a:solidFill>
                  <a:srgbClr val="1C3D74"/>
                </a:solidFill>
                <a:latin typeface="Arial" panose="020B0604020202020204" pitchFamily="34" charset="0"/>
                <a:cs typeface="Arial" panose="020B0604020202020204" pitchFamily="34" charset="0"/>
              </a:rPr>
              <a:t>Sub-bullet point</a:t>
            </a:r>
          </a:p>
        </p:txBody>
      </p:sp>
    </p:spTree>
    <p:extLst>
      <p:ext uri="{BB962C8B-B14F-4D97-AF65-F5344CB8AC3E}">
        <p14:creationId xmlns:p14="http://schemas.microsoft.com/office/powerpoint/2010/main" val="1001769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dirty="0"/>
              <a:t>2/22/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GB"/>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5A61015F-7CC6-4D0A-9D87-873EA4C304CC}" type="datetimeFigureOut">
              <a:rPr lang="en-US" dirty="0"/>
              <a:t>2/22/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GB"/>
              <a:t>Click to edit Master title style</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93C6A301-0538-44EC-B09D-202E1042A48B}" type="datetimeFigureOut">
              <a:rPr lang="en-US" dirty="0"/>
              <a:t>2/22/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GB"/>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GB"/>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D789574A-8875-45EF-8EA2-3CAA0F7ABC4C}" type="datetimeFigureOut">
              <a:rPr lang="en-US" dirty="0"/>
              <a:t>2/22/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67EF4D4C-5367-4C26-9E2B-D8088D7FCA81}" type="datetimeFigureOut">
              <a:rPr lang="en-US" dirty="0"/>
              <a:t>2/22/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E91E96-98B0-4413-9547-46F3504108EF}" type="datetimeFigureOut">
              <a:rPr lang="en-US" dirty="0"/>
              <a:t>2/22/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GB"/>
              <a:t>Click to edit Master title style</a:t>
            </a:r>
            <a:endParaRPr lang="en-US" dirty="0"/>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05C68B11-C5A8-448C-8CE9-B1A273C79CFC}" type="datetimeFigureOut">
              <a:rPr lang="en-US" dirty="0"/>
              <a:t>2/22/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GB"/>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C7616CA0-919D-4A49-9C8A-62FDFB3A5183}" type="datetimeFigureOut">
              <a:rPr lang="en-US" dirty="0"/>
              <a:t>2/22/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7E5644-1E61-4311-A31E-84CB9C7AA8A9}" type="slidenum">
              <a:rPr lang="en-US" dirty="0"/>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GB"/>
              <a:t>Click to edit Master title style</a:t>
            </a:r>
            <a:endParaRPr lang="en-US" dirty="0"/>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90298CD5-6C1E-4009-B41F-6DF62E31D3BE}" type="datetimeFigureOut">
              <a:rPr lang="en-US" dirty="0"/>
              <a:pPr/>
              <a:t>2/22/24</a:t>
            </a:fld>
            <a:endParaRPr lang="en-US" dirty="0"/>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dirty="0"/>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4FAB73BC-B049-4115-A692-8D63A059BFB8}" type="slidenum">
              <a:rPr lang="en-US" dirty="0"/>
              <a:pPr/>
              <a:t>‹#›</a:t>
            </a:fld>
            <a:endParaRPr lang="en-US" dirty="0"/>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60" r:id="rId9"/>
    <p:sldLayoutId id="2147483658" r:id="rId10"/>
    <p:sldLayoutId id="2147483659" r:id="rId11"/>
    <p:sldLayoutId id="2147483661" r:id="rId12"/>
    <p:sldLayoutId id="2147483662" r:id="rId13"/>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2.xml"/><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Layout" Target="../slideLayouts/slideLayout7.xml"/><Relationship Id="rId1" Type="http://schemas.openxmlformats.org/officeDocument/2006/relationships/video" Target="https://www.youtube.com/embed/rbBr5hLpKPU?feature=oembed"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qmul.targetconnect.net/leap/event.html?id=13596&amp;service=Careers%20Service" TargetMode="External"/><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10.jpe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ustomXml" Target="../ink/ink1.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customXml" Target="../ink/ink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customXml" Target="../ink/ink6.xml"/><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customXml" Target="../ink/ink3.xml"/><Relationship Id="rId1" Type="http://schemas.openxmlformats.org/officeDocument/2006/relationships/slideLayout" Target="../slideLayouts/slideLayout2.xml"/><Relationship Id="rId6" Type="http://schemas.openxmlformats.org/officeDocument/2006/relationships/customXml" Target="../ink/ink5.xml"/><Relationship Id="rId11" Type="http://schemas.openxmlformats.org/officeDocument/2006/relationships/image" Target="../media/image90.png"/><Relationship Id="rId5" Type="http://schemas.openxmlformats.org/officeDocument/2006/relationships/image" Target="../media/image6.png"/><Relationship Id="rId10" Type="http://schemas.openxmlformats.org/officeDocument/2006/relationships/customXml" Target="../ink/ink7.xml"/><Relationship Id="rId4" Type="http://schemas.openxmlformats.org/officeDocument/2006/relationships/customXml" Target="../ink/ink4.xml"/><Relationship Id="rId9" Type="http://schemas.openxmlformats.org/officeDocument/2006/relationships/image" Target="../media/image8.png"/></Relationships>
</file>

<file path=ppt/slides/_rels/slide2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Layout" Target="../slideLayouts/slideLayout7.xml"/><Relationship Id="rId1" Type="http://schemas.openxmlformats.org/officeDocument/2006/relationships/video" Target="https://www.youtube.com/embed/prDX3Ef1YqQ?feature=oembed"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slideLayout" Target="../slideLayouts/slideLayout7.xml"/><Relationship Id="rId1" Type="http://schemas.openxmlformats.org/officeDocument/2006/relationships/video" Target="https://www.youtube.com/embed/5uSbJUsOWTw?start=451&amp;feature=oembed"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3725CB-E940-1DB6-63C0-980E363A5F8B}"/>
              </a:ext>
            </a:extLst>
          </p:cNvPr>
          <p:cNvSpPr>
            <a:spLocks noGrp="1"/>
          </p:cNvSpPr>
          <p:nvPr>
            <p:ph type="sldNum" sz="quarter" idx="14"/>
          </p:nvPr>
        </p:nvSpPr>
        <p:spPr/>
        <p:txBody>
          <a:bodyPr/>
          <a:lstStyle/>
          <a:p>
            <a:fld id="{D61AABEC-672F-4B68-B914-690DA978312C}" type="slidenum">
              <a:rPr lang="en-GB" smtClean="0"/>
              <a:pPr/>
              <a:t>1</a:t>
            </a:fld>
            <a:r>
              <a:rPr lang="en-GB"/>
              <a:t> ‒ </a:t>
            </a:r>
            <a:endParaRPr lang="en-GB" dirty="0"/>
          </a:p>
        </p:txBody>
      </p:sp>
      <p:sp>
        <p:nvSpPr>
          <p:cNvPr id="3" name="Text Placeholder 2">
            <a:extLst>
              <a:ext uri="{FF2B5EF4-FFF2-40B4-BE49-F238E27FC236}">
                <a16:creationId xmlns:a16="http://schemas.microsoft.com/office/drawing/2014/main" id="{D4A360BD-9E7F-2D2C-F8E6-41614C465198}"/>
              </a:ext>
            </a:extLst>
          </p:cNvPr>
          <p:cNvSpPr>
            <a:spLocks noGrp="1"/>
          </p:cNvSpPr>
          <p:nvPr>
            <p:ph type="body" sz="quarter" idx="15"/>
          </p:nvPr>
        </p:nvSpPr>
        <p:spPr/>
        <p:txBody>
          <a:bodyPr/>
          <a:lstStyle/>
          <a:p>
            <a:endParaRPr lang="en-GB"/>
          </a:p>
        </p:txBody>
      </p:sp>
      <p:sp>
        <p:nvSpPr>
          <p:cNvPr id="4" name="Title 3">
            <a:extLst>
              <a:ext uri="{FF2B5EF4-FFF2-40B4-BE49-F238E27FC236}">
                <a16:creationId xmlns:a16="http://schemas.microsoft.com/office/drawing/2014/main" id="{49E11A2C-80AF-8107-098C-33C7A1755532}"/>
              </a:ext>
            </a:extLst>
          </p:cNvPr>
          <p:cNvSpPr>
            <a:spLocks noGrp="1"/>
          </p:cNvSpPr>
          <p:nvPr>
            <p:ph type="title"/>
          </p:nvPr>
        </p:nvSpPr>
        <p:spPr/>
        <p:txBody>
          <a:bodyPr/>
          <a:lstStyle/>
          <a:p>
            <a:endParaRPr lang="en-GB"/>
          </a:p>
        </p:txBody>
      </p:sp>
      <p:sp>
        <p:nvSpPr>
          <p:cNvPr id="5" name="Text Placeholder 4">
            <a:extLst>
              <a:ext uri="{FF2B5EF4-FFF2-40B4-BE49-F238E27FC236}">
                <a16:creationId xmlns:a16="http://schemas.microsoft.com/office/drawing/2014/main" id="{26EDB883-3914-5DB4-B6E9-9379A03912C4}"/>
              </a:ext>
            </a:extLst>
          </p:cNvPr>
          <p:cNvSpPr>
            <a:spLocks noGrp="1"/>
          </p:cNvSpPr>
          <p:nvPr>
            <p:ph type="body" sz="quarter" idx="18"/>
          </p:nvPr>
        </p:nvSpPr>
        <p:spPr/>
        <p:txBody>
          <a:bodyPr/>
          <a:lstStyle/>
          <a:p>
            <a:endParaRPr lang="en-GB"/>
          </a:p>
        </p:txBody>
      </p:sp>
      <p:sp>
        <p:nvSpPr>
          <p:cNvPr id="6" name="Text Placeholder 5">
            <a:extLst>
              <a:ext uri="{FF2B5EF4-FFF2-40B4-BE49-F238E27FC236}">
                <a16:creationId xmlns:a16="http://schemas.microsoft.com/office/drawing/2014/main" id="{EA8AE33D-F7C7-A9DD-8802-E8846ABA2F90}"/>
              </a:ext>
            </a:extLst>
          </p:cNvPr>
          <p:cNvSpPr>
            <a:spLocks noGrp="1"/>
          </p:cNvSpPr>
          <p:nvPr>
            <p:ph type="body" sz="quarter" idx="20"/>
          </p:nvPr>
        </p:nvSpPr>
        <p:spPr/>
        <p:txBody>
          <a:bodyPr/>
          <a:lstStyle/>
          <a:p>
            <a:endParaRPr lang="en-GB"/>
          </a:p>
        </p:txBody>
      </p:sp>
      <p:sp>
        <p:nvSpPr>
          <p:cNvPr id="7" name="Text Placeholder 6">
            <a:extLst>
              <a:ext uri="{FF2B5EF4-FFF2-40B4-BE49-F238E27FC236}">
                <a16:creationId xmlns:a16="http://schemas.microsoft.com/office/drawing/2014/main" id="{DC96046B-69BA-9205-C2DA-07A8C30AC9DE}"/>
              </a:ext>
            </a:extLst>
          </p:cNvPr>
          <p:cNvSpPr>
            <a:spLocks noGrp="1"/>
          </p:cNvSpPr>
          <p:nvPr>
            <p:ph type="body" sz="quarter" idx="21"/>
          </p:nvPr>
        </p:nvSpPr>
        <p:spPr/>
        <p:txBody>
          <a:bodyPr/>
          <a:lstStyle/>
          <a:p>
            <a:endParaRPr lang="en-GB"/>
          </a:p>
        </p:txBody>
      </p:sp>
      <p:sp>
        <p:nvSpPr>
          <p:cNvPr id="8" name="Text Placeholder 7">
            <a:extLst>
              <a:ext uri="{FF2B5EF4-FFF2-40B4-BE49-F238E27FC236}">
                <a16:creationId xmlns:a16="http://schemas.microsoft.com/office/drawing/2014/main" id="{CCAE557B-2CD7-A1D8-7766-277FCCE99404}"/>
              </a:ext>
            </a:extLst>
          </p:cNvPr>
          <p:cNvSpPr>
            <a:spLocks noGrp="1"/>
          </p:cNvSpPr>
          <p:nvPr>
            <p:ph type="body" sz="quarter" idx="22"/>
          </p:nvPr>
        </p:nvSpPr>
        <p:spPr/>
        <p:txBody>
          <a:bodyPr/>
          <a:lstStyle/>
          <a:p>
            <a:endParaRPr lang="en-GB"/>
          </a:p>
        </p:txBody>
      </p:sp>
      <p:sp>
        <p:nvSpPr>
          <p:cNvPr id="9" name="Text Placeholder 8">
            <a:extLst>
              <a:ext uri="{FF2B5EF4-FFF2-40B4-BE49-F238E27FC236}">
                <a16:creationId xmlns:a16="http://schemas.microsoft.com/office/drawing/2014/main" id="{49FBC00B-2646-4A44-2217-D643B11E2E99}"/>
              </a:ext>
            </a:extLst>
          </p:cNvPr>
          <p:cNvSpPr>
            <a:spLocks noGrp="1"/>
          </p:cNvSpPr>
          <p:nvPr>
            <p:ph type="body" sz="quarter" idx="23"/>
          </p:nvPr>
        </p:nvSpPr>
        <p:spPr/>
        <p:txBody>
          <a:bodyPr/>
          <a:lstStyle/>
          <a:p>
            <a:endParaRPr lang="en-GB"/>
          </a:p>
        </p:txBody>
      </p:sp>
      <p:sp>
        <p:nvSpPr>
          <p:cNvPr id="10" name="Text Placeholder 9">
            <a:extLst>
              <a:ext uri="{FF2B5EF4-FFF2-40B4-BE49-F238E27FC236}">
                <a16:creationId xmlns:a16="http://schemas.microsoft.com/office/drawing/2014/main" id="{B725E52F-F4E2-6FC8-B6D8-FCFCE4C57081}"/>
              </a:ext>
            </a:extLst>
          </p:cNvPr>
          <p:cNvSpPr>
            <a:spLocks noGrp="1"/>
          </p:cNvSpPr>
          <p:nvPr>
            <p:ph type="body" sz="quarter" idx="24"/>
          </p:nvPr>
        </p:nvSpPr>
        <p:spPr/>
        <p:txBody>
          <a:bodyPr/>
          <a:lstStyle/>
          <a:p>
            <a:endParaRPr lang="en-GB"/>
          </a:p>
        </p:txBody>
      </p:sp>
      <p:sp>
        <p:nvSpPr>
          <p:cNvPr id="11" name="Text Placeholder 10">
            <a:extLst>
              <a:ext uri="{FF2B5EF4-FFF2-40B4-BE49-F238E27FC236}">
                <a16:creationId xmlns:a16="http://schemas.microsoft.com/office/drawing/2014/main" id="{F0A3B312-7546-C520-CC70-55B995CB0689}"/>
              </a:ext>
            </a:extLst>
          </p:cNvPr>
          <p:cNvSpPr>
            <a:spLocks noGrp="1"/>
          </p:cNvSpPr>
          <p:nvPr>
            <p:ph type="body" sz="quarter" idx="25"/>
          </p:nvPr>
        </p:nvSpPr>
        <p:spPr/>
        <p:txBody>
          <a:bodyPr/>
          <a:lstStyle/>
          <a:p>
            <a:endParaRPr lang="en-GB" dirty="0"/>
          </a:p>
        </p:txBody>
      </p:sp>
      <p:sp>
        <p:nvSpPr>
          <p:cNvPr id="12" name="Text Placeholder 11">
            <a:extLst>
              <a:ext uri="{FF2B5EF4-FFF2-40B4-BE49-F238E27FC236}">
                <a16:creationId xmlns:a16="http://schemas.microsoft.com/office/drawing/2014/main" id="{D5EB96D6-3AF6-C964-26E8-E661AA4493CD}"/>
              </a:ext>
            </a:extLst>
          </p:cNvPr>
          <p:cNvSpPr>
            <a:spLocks noGrp="1"/>
          </p:cNvSpPr>
          <p:nvPr>
            <p:ph type="body" sz="quarter" idx="26"/>
          </p:nvPr>
        </p:nvSpPr>
        <p:spPr/>
        <p:txBody>
          <a:bodyPr/>
          <a:lstStyle/>
          <a:p>
            <a:endParaRPr lang="en-GB"/>
          </a:p>
        </p:txBody>
      </p:sp>
      <p:sp>
        <p:nvSpPr>
          <p:cNvPr id="13" name="Text Placeholder 12">
            <a:extLst>
              <a:ext uri="{FF2B5EF4-FFF2-40B4-BE49-F238E27FC236}">
                <a16:creationId xmlns:a16="http://schemas.microsoft.com/office/drawing/2014/main" id="{79E8A0F2-76E1-93A6-32EC-67A3513A15BA}"/>
              </a:ext>
            </a:extLst>
          </p:cNvPr>
          <p:cNvSpPr>
            <a:spLocks noGrp="1"/>
          </p:cNvSpPr>
          <p:nvPr>
            <p:ph type="body" sz="quarter" idx="27"/>
          </p:nvPr>
        </p:nvSpPr>
        <p:spPr/>
        <p:txBody>
          <a:bodyPr/>
          <a:lstStyle/>
          <a:p>
            <a:endParaRPr lang="en-GB"/>
          </a:p>
        </p:txBody>
      </p:sp>
      <p:pic>
        <p:nvPicPr>
          <p:cNvPr id="15" name="Picture 14" descr="A person smiling for a picture&#10;&#10;Description automatically generated">
            <a:extLst>
              <a:ext uri="{FF2B5EF4-FFF2-40B4-BE49-F238E27FC236}">
                <a16:creationId xmlns:a16="http://schemas.microsoft.com/office/drawing/2014/main" id="{5B328779-9DFA-FCF6-569D-EBB58053659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81647" cy="7676029"/>
          </a:xfrm>
          <a:prstGeom prst="rect">
            <a:avLst/>
          </a:prstGeom>
        </p:spPr>
      </p:pic>
      <p:pic>
        <p:nvPicPr>
          <p:cNvPr id="16" name="Picture 15" descr="A qr code on a white background&#10;&#10;Description automatically generated">
            <a:extLst>
              <a:ext uri="{FF2B5EF4-FFF2-40B4-BE49-F238E27FC236}">
                <a16:creationId xmlns:a16="http://schemas.microsoft.com/office/drawing/2014/main" id="{9D1952A4-C0DF-BE87-5188-5C0C20017A8A}"/>
              </a:ext>
            </a:extLst>
          </p:cNvPr>
          <p:cNvPicPr>
            <a:picLocks noChangeAspect="1"/>
          </p:cNvPicPr>
          <p:nvPr/>
        </p:nvPicPr>
        <p:blipFill>
          <a:blip r:embed="rId3"/>
          <a:stretch>
            <a:fillRect/>
          </a:stretch>
        </p:blipFill>
        <p:spPr>
          <a:xfrm>
            <a:off x="810851" y="4702864"/>
            <a:ext cx="1905000" cy="1905000"/>
          </a:xfrm>
          <a:prstGeom prst="rect">
            <a:avLst/>
          </a:prstGeom>
        </p:spPr>
      </p:pic>
    </p:spTree>
    <p:extLst>
      <p:ext uri="{BB962C8B-B14F-4D97-AF65-F5344CB8AC3E}">
        <p14:creationId xmlns:p14="http://schemas.microsoft.com/office/powerpoint/2010/main" val="30821627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79F64-CBB2-16FD-8F90-CCA97B5DCBA3}"/>
              </a:ext>
            </a:extLst>
          </p:cNvPr>
          <p:cNvSpPr>
            <a:spLocks noGrp="1"/>
          </p:cNvSpPr>
          <p:nvPr>
            <p:ph type="title"/>
          </p:nvPr>
        </p:nvSpPr>
        <p:spPr>
          <a:xfrm>
            <a:off x="1024128" y="585216"/>
            <a:ext cx="5071872" cy="1499616"/>
          </a:xfrm>
        </p:spPr>
        <p:txBody>
          <a:bodyPr>
            <a:normAutofit/>
          </a:bodyPr>
          <a:lstStyle/>
          <a:p>
            <a:r>
              <a:rPr lang="en-US" dirty="0"/>
              <a:t>Imperial complicity, Dangerous liminality</a:t>
            </a:r>
          </a:p>
        </p:txBody>
      </p:sp>
      <p:sp>
        <p:nvSpPr>
          <p:cNvPr id="9" name="Content Placeholder 8">
            <a:extLst>
              <a:ext uri="{FF2B5EF4-FFF2-40B4-BE49-F238E27FC236}">
                <a16:creationId xmlns:a16="http://schemas.microsoft.com/office/drawing/2014/main" id="{2F2C91F1-91B7-D745-1019-A8E6ECEBF822}"/>
              </a:ext>
            </a:extLst>
          </p:cNvPr>
          <p:cNvSpPr>
            <a:spLocks noGrp="1"/>
          </p:cNvSpPr>
          <p:nvPr>
            <p:ph idx="1"/>
          </p:nvPr>
        </p:nvSpPr>
        <p:spPr>
          <a:xfrm>
            <a:off x="787078" y="2084832"/>
            <a:ext cx="5135088" cy="4674784"/>
          </a:xfrm>
        </p:spPr>
        <p:txBody>
          <a:bodyPr>
            <a:normAutofit fontScale="70000" lnSpcReduction="20000"/>
          </a:bodyPr>
          <a:lstStyle/>
          <a:p>
            <a:endParaRPr lang="en-US" sz="2000" dirty="0"/>
          </a:p>
          <a:p>
            <a:r>
              <a:rPr lang="en-US" sz="2800" dirty="0" err="1"/>
              <a:t>Spatialising</a:t>
            </a:r>
            <a:r>
              <a:rPr lang="en-US" sz="2800" dirty="0"/>
              <a:t> time: mapping evolutionary time onto geography → being “out of time” as justification for paternal rule/civilizing missions.</a:t>
            </a:r>
          </a:p>
          <a:p>
            <a:r>
              <a:rPr lang="en-US" sz="2800" dirty="0"/>
              <a:t>White women ➤ placed in positions of decided – if borrowed – power, not only over colonized women but also colonized men.</a:t>
            </a:r>
          </a:p>
          <a:p>
            <a:r>
              <a:rPr lang="en-US" sz="2800" dirty="0"/>
              <a:t>Colonized women ➤ ambiguously placed as slaves, agricultural workers, house servants, mothers, prostitutes and concubines. They had to negotiate the imbalances of their relations with their own men, but also imperial men and women.</a:t>
            </a:r>
          </a:p>
          <a:p>
            <a:r>
              <a:rPr lang="en-US" sz="2800" dirty="0"/>
              <a:t>The </a:t>
            </a:r>
            <a:r>
              <a:rPr lang="en-US" sz="2800" dirty="0" err="1"/>
              <a:t>organisation</a:t>
            </a:r>
            <a:r>
              <a:rPr lang="en-US" sz="2800" dirty="0"/>
              <a:t> of family and sexuality become essential to sustain imperial rule.</a:t>
            </a:r>
            <a:endParaRPr lang="en-US" sz="2000" dirty="0"/>
          </a:p>
          <a:p>
            <a:pPr marL="0" indent="0">
              <a:buNone/>
            </a:pPr>
            <a:endParaRPr lang="en-US" sz="2000" dirty="0"/>
          </a:p>
          <a:p>
            <a:pPr algn="r"/>
            <a:r>
              <a:rPr lang="en-US" sz="1700" dirty="0"/>
              <a:t>Image: Illustration of </a:t>
            </a:r>
            <a:r>
              <a:rPr lang="en-US" sz="1700" dirty="0" err="1"/>
              <a:t>nyai</a:t>
            </a:r>
            <a:r>
              <a:rPr lang="en-US" sz="1700" dirty="0"/>
              <a:t> (concubine) and </a:t>
            </a:r>
            <a:r>
              <a:rPr lang="en-US" sz="1700" dirty="0" err="1"/>
              <a:t>indo-european</a:t>
            </a:r>
            <a:r>
              <a:rPr lang="en-US" sz="1700" dirty="0"/>
              <a:t> children in Dutch-Indie</a:t>
            </a:r>
          </a:p>
        </p:txBody>
      </p:sp>
      <p:pic>
        <p:nvPicPr>
          <p:cNvPr id="5" name="Content Placeholder 4" descr="A picture containing text, posing, old, group&#10;&#10;Description automatically generated">
            <a:extLst>
              <a:ext uri="{FF2B5EF4-FFF2-40B4-BE49-F238E27FC236}">
                <a16:creationId xmlns:a16="http://schemas.microsoft.com/office/drawing/2014/main" id="{AAE7B60A-9864-B87F-2AB0-13D9A614497A}"/>
              </a:ext>
            </a:extLst>
          </p:cNvPr>
          <p:cNvPicPr>
            <a:picLocks noChangeAspect="1"/>
          </p:cNvPicPr>
          <p:nvPr/>
        </p:nvPicPr>
        <p:blipFill>
          <a:blip r:embed="rId2"/>
          <a:stretch>
            <a:fillRect/>
          </a:stretch>
        </p:blipFill>
        <p:spPr>
          <a:xfrm>
            <a:off x="6269835" y="640080"/>
            <a:ext cx="5577840" cy="5577840"/>
          </a:xfrm>
          <a:prstGeom prst="rect">
            <a:avLst/>
          </a:prstGeom>
        </p:spPr>
      </p:pic>
    </p:spTree>
    <p:extLst>
      <p:ext uri="{BB962C8B-B14F-4D97-AF65-F5344CB8AC3E}">
        <p14:creationId xmlns:p14="http://schemas.microsoft.com/office/powerpoint/2010/main" val="33411021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DD035E9-9492-4A96-8BC3-7FB24D7F94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09599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648AEB1-8E3C-4FF2-B294-3F29DA0BE84D}"/>
              </a:ext>
            </a:extLst>
          </p:cNvPr>
          <p:cNvSpPr>
            <a:spLocks noGrp="1"/>
          </p:cNvSpPr>
          <p:nvPr>
            <p:ph type="title"/>
          </p:nvPr>
        </p:nvSpPr>
        <p:spPr>
          <a:xfrm>
            <a:off x="1024128" y="459317"/>
            <a:ext cx="4389120" cy="1749552"/>
          </a:xfrm>
        </p:spPr>
        <p:txBody>
          <a:bodyPr>
            <a:normAutofit/>
          </a:bodyPr>
          <a:lstStyle/>
          <a:p>
            <a:r>
              <a:rPr lang="en-US" sz="4400" dirty="0"/>
              <a:t>Purity and contamination</a:t>
            </a:r>
          </a:p>
        </p:txBody>
      </p:sp>
      <p:cxnSp>
        <p:nvCxnSpPr>
          <p:cNvPr id="12" name="Straight Connector 11">
            <a:extLst>
              <a:ext uri="{FF2B5EF4-FFF2-40B4-BE49-F238E27FC236}">
                <a16:creationId xmlns:a16="http://schemas.microsoft.com/office/drawing/2014/main" id="{EEFBDC43-ADB2-4EDE-8696-528BCABD17D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953BD0D8-206E-75F4-BB18-293F63514D56}"/>
              </a:ext>
            </a:extLst>
          </p:cNvPr>
          <p:cNvSpPr>
            <a:spLocks noGrp="1"/>
          </p:cNvSpPr>
          <p:nvPr>
            <p:ph idx="1"/>
          </p:nvPr>
        </p:nvSpPr>
        <p:spPr>
          <a:xfrm>
            <a:off x="762000" y="2060294"/>
            <a:ext cx="4735972" cy="4797705"/>
          </a:xfrm>
        </p:spPr>
        <p:txBody>
          <a:bodyPr>
            <a:normAutofit fontScale="85000" lnSpcReduction="10000"/>
          </a:bodyPr>
          <a:lstStyle/>
          <a:p>
            <a:r>
              <a:rPr lang="en-US" dirty="0"/>
              <a:t>The cult of domesticity (to domesticate means to dominate) is not a fact of nature, but “engineers” social relations to power:</a:t>
            </a:r>
          </a:p>
          <a:p>
            <a:pPr marL="310896" lvl="2" indent="0">
              <a:buNone/>
            </a:pPr>
            <a:r>
              <a:rPr lang="en-US" sz="2000" dirty="0"/>
              <a:t>“</a:t>
            </a:r>
            <a:r>
              <a:rPr lang="en-US" sz="2000" i="1" dirty="0"/>
              <a:t>Cleaning rituals central to the demarcation of body boundaries and the policing of social hierarchies</a:t>
            </a:r>
            <a:r>
              <a:rPr lang="en-US" sz="2000" dirty="0"/>
              <a:t>.” (McClintock 1995, 33)</a:t>
            </a:r>
          </a:p>
          <a:p>
            <a:pPr marL="310896" lvl="2" indent="0">
              <a:buNone/>
            </a:pPr>
            <a:r>
              <a:rPr lang="en-US" sz="2000" dirty="0"/>
              <a:t>“</a:t>
            </a:r>
            <a:r>
              <a:rPr lang="en-US" sz="2000" i="1" dirty="0"/>
              <a:t>Sexual purity emerged as a controlling metaphor for racial, economic and political power.” </a:t>
            </a:r>
            <a:r>
              <a:rPr lang="en-US" sz="2000" dirty="0"/>
              <a:t>(ibid, 47)</a:t>
            </a:r>
          </a:p>
          <a:p>
            <a:r>
              <a:rPr lang="en-US" dirty="0"/>
              <a:t>Discourse of contamination and contagion </a:t>
            </a:r>
            <a:r>
              <a:rPr lang="en-US" i="1" dirty="0"/>
              <a:t>→ </a:t>
            </a:r>
            <a:r>
              <a:rPr lang="en-US" dirty="0"/>
              <a:t>institutionalization of fear</a:t>
            </a:r>
          </a:p>
          <a:p>
            <a:r>
              <a:rPr lang="en-US" dirty="0"/>
              <a:t>Increased state intervention, through policymakers and administrators, in public and domestic spaces</a:t>
            </a:r>
          </a:p>
          <a:p>
            <a:r>
              <a:rPr lang="en-US" dirty="0"/>
              <a:t>Ideas spread through mass-produced commodities (material and cultural goods)</a:t>
            </a:r>
            <a:endParaRPr lang="en-US" sz="1800" dirty="0"/>
          </a:p>
          <a:p>
            <a:r>
              <a:rPr lang="en-US" sz="1200" dirty="0"/>
              <a:t>Image: In the late 19th century, where rebuilding did take place, it was often at the expense of those living in the buildings to be demolished. The following photo from Living in </a:t>
            </a:r>
            <a:r>
              <a:rPr lang="en-US" sz="1200" dirty="0" err="1"/>
              <a:t>Stepney</a:t>
            </a:r>
            <a:r>
              <a:rPr lang="en-US" sz="1200" dirty="0"/>
              <a:t> is titled “</a:t>
            </a:r>
            <a:r>
              <a:rPr lang="en-US" sz="1200" i="1" dirty="0"/>
              <a:t>Tenants evicted from slums for the new model blocks to be built</a:t>
            </a:r>
            <a:r>
              <a:rPr lang="en-US" sz="1200" dirty="0"/>
              <a:t>”.</a:t>
            </a:r>
          </a:p>
          <a:p>
            <a:endParaRPr lang="en-US" sz="1800" dirty="0"/>
          </a:p>
        </p:txBody>
      </p:sp>
      <p:pic>
        <p:nvPicPr>
          <p:cNvPr id="5" name="Picture 4" descr="A picture containing building, old, several, crowd&#10;&#10;Description automatically generated">
            <a:extLst>
              <a:ext uri="{FF2B5EF4-FFF2-40B4-BE49-F238E27FC236}">
                <a16:creationId xmlns:a16="http://schemas.microsoft.com/office/drawing/2014/main" id="{737CEDFB-7598-A0CB-7D47-B2025E42D9A9}"/>
              </a:ext>
            </a:extLst>
          </p:cNvPr>
          <p:cNvPicPr>
            <a:picLocks noChangeAspect="1"/>
          </p:cNvPicPr>
          <p:nvPr/>
        </p:nvPicPr>
        <p:blipFill rotWithShape="1">
          <a:blip r:embed="rId2"/>
          <a:srcRect l="26540" r="24864"/>
          <a:stretch/>
        </p:blipFill>
        <p:spPr>
          <a:xfrm>
            <a:off x="6437376" y="219521"/>
            <a:ext cx="5424984" cy="6418958"/>
          </a:xfrm>
          <a:prstGeom prst="rect">
            <a:avLst/>
          </a:prstGeom>
        </p:spPr>
      </p:pic>
    </p:spTree>
    <p:extLst>
      <p:ext uri="{BB962C8B-B14F-4D97-AF65-F5344CB8AC3E}">
        <p14:creationId xmlns:p14="http://schemas.microsoft.com/office/powerpoint/2010/main" val="5150805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4F7B9026-36AD-42E4-B172-8D68F3A339B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 name="Picture 6" descr="A picture containing text, newspaper, book, old&#10;&#10;Description automatically generated">
            <a:extLst>
              <a:ext uri="{FF2B5EF4-FFF2-40B4-BE49-F238E27FC236}">
                <a16:creationId xmlns:a16="http://schemas.microsoft.com/office/drawing/2014/main" id="{1E0B5AEC-E79D-D050-D601-5817FDA183FE}"/>
              </a:ext>
            </a:extLst>
          </p:cNvPr>
          <p:cNvPicPr>
            <a:picLocks noChangeAspect="1"/>
          </p:cNvPicPr>
          <p:nvPr/>
        </p:nvPicPr>
        <p:blipFill rotWithShape="1">
          <a:blip r:embed="rId2"/>
          <a:srcRect l="5721" r="5718" b="-3"/>
          <a:stretch/>
        </p:blipFill>
        <p:spPr>
          <a:xfrm>
            <a:off x="192528" y="171716"/>
            <a:ext cx="3793268" cy="6514565"/>
          </a:xfrm>
          <a:prstGeom prst="rect">
            <a:avLst/>
          </a:prstGeom>
        </p:spPr>
      </p:pic>
      <p:pic>
        <p:nvPicPr>
          <p:cNvPr id="9" name="Picture 8" descr="A picture containing text, book, old, vintage&#10;&#10;Description automatically generated">
            <a:extLst>
              <a:ext uri="{FF2B5EF4-FFF2-40B4-BE49-F238E27FC236}">
                <a16:creationId xmlns:a16="http://schemas.microsoft.com/office/drawing/2014/main" id="{98A0F6C6-F649-59FF-6AEF-A7A3C12AAFC1}"/>
              </a:ext>
            </a:extLst>
          </p:cNvPr>
          <p:cNvPicPr>
            <a:picLocks noChangeAspect="1"/>
          </p:cNvPicPr>
          <p:nvPr/>
        </p:nvPicPr>
        <p:blipFill rotWithShape="1">
          <a:blip r:embed="rId3"/>
          <a:srcRect l="1195" r="6752" b="-3"/>
          <a:stretch/>
        </p:blipFill>
        <p:spPr>
          <a:xfrm>
            <a:off x="4184538" y="171716"/>
            <a:ext cx="3822924" cy="6514565"/>
          </a:xfrm>
          <a:prstGeom prst="rect">
            <a:avLst/>
          </a:prstGeom>
        </p:spPr>
      </p:pic>
      <p:pic>
        <p:nvPicPr>
          <p:cNvPr id="11" name="Picture 10" descr="Text&#10;&#10;Description automatically generated with medium confidence">
            <a:extLst>
              <a:ext uri="{FF2B5EF4-FFF2-40B4-BE49-F238E27FC236}">
                <a16:creationId xmlns:a16="http://schemas.microsoft.com/office/drawing/2014/main" id="{DE98DCE3-5E12-CD8F-806E-86280AC7C53E}"/>
              </a:ext>
            </a:extLst>
          </p:cNvPr>
          <p:cNvPicPr>
            <a:picLocks noChangeAspect="1"/>
          </p:cNvPicPr>
          <p:nvPr/>
        </p:nvPicPr>
        <p:blipFill rotWithShape="1">
          <a:blip r:embed="rId4"/>
          <a:srcRect l="8711" r="3594" b="-3"/>
          <a:stretch/>
        </p:blipFill>
        <p:spPr>
          <a:xfrm>
            <a:off x="8188032" y="171716"/>
            <a:ext cx="3799007" cy="6514565"/>
          </a:xfrm>
          <a:prstGeom prst="rect">
            <a:avLst/>
          </a:prstGeom>
        </p:spPr>
      </p:pic>
    </p:spTree>
    <p:extLst>
      <p:ext uri="{BB962C8B-B14F-4D97-AF65-F5344CB8AC3E}">
        <p14:creationId xmlns:p14="http://schemas.microsoft.com/office/powerpoint/2010/main" val="15417961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526B8-997E-5814-D7CB-FC9AF51C4EBE}"/>
              </a:ext>
            </a:extLst>
          </p:cNvPr>
          <p:cNvSpPr>
            <a:spLocks noGrp="1"/>
          </p:cNvSpPr>
          <p:nvPr>
            <p:ph type="title"/>
          </p:nvPr>
        </p:nvSpPr>
        <p:spPr>
          <a:xfrm>
            <a:off x="1024128" y="585216"/>
            <a:ext cx="6066818" cy="1499616"/>
          </a:xfrm>
        </p:spPr>
        <p:txBody>
          <a:bodyPr>
            <a:normAutofit/>
          </a:bodyPr>
          <a:lstStyle/>
          <a:p>
            <a:r>
              <a:rPr lang="en-US" dirty="0"/>
              <a:t>The haunting ‘other’</a:t>
            </a:r>
          </a:p>
        </p:txBody>
      </p:sp>
      <p:sp>
        <p:nvSpPr>
          <p:cNvPr id="3" name="Content Placeholder 2">
            <a:extLst>
              <a:ext uri="{FF2B5EF4-FFF2-40B4-BE49-F238E27FC236}">
                <a16:creationId xmlns:a16="http://schemas.microsoft.com/office/drawing/2014/main" id="{D401E672-83D4-0EFD-FFF0-3E9A4F0B9D5F}"/>
              </a:ext>
            </a:extLst>
          </p:cNvPr>
          <p:cNvSpPr>
            <a:spLocks noGrp="1"/>
          </p:cNvSpPr>
          <p:nvPr>
            <p:ph idx="1"/>
          </p:nvPr>
        </p:nvSpPr>
        <p:spPr>
          <a:xfrm>
            <a:off x="810228" y="1869311"/>
            <a:ext cx="6280718" cy="4988689"/>
          </a:xfrm>
        </p:spPr>
        <p:txBody>
          <a:bodyPr>
            <a:normAutofit fontScale="70000" lnSpcReduction="20000"/>
          </a:bodyPr>
          <a:lstStyle/>
          <a:p>
            <a:pPr marL="0" indent="0">
              <a:buNone/>
            </a:pPr>
            <a:r>
              <a:rPr lang="en-US" sz="2900" dirty="0"/>
              <a:t> Jane Eyre by Charlotte Brontë (1847 novel)</a:t>
            </a:r>
          </a:p>
          <a:p>
            <a:r>
              <a:rPr lang="en-US" sz="2900" dirty="0"/>
              <a:t>Bertha Mason is at first a threatening “presence” in Thornfield Hall, hidden away and only heard (laughs and growls).</a:t>
            </a:r>
          </a:p>
          <a:p>
            <a:r>
              <a:rPr lang="en-US" sz="2900" dirty="0"/>
              <a:t>When Bertha’s existence is finally revealed as </a:t>
            </a:r>
            <a:r>
              <a:rPr lang="en-US" sz="2900" dirty="0" err="1"/>
              <a:t>Mr</a:t>
            </a:r>
            <a:r>
              <a:rPr lang="en-US" sz="2900" dirty="0"/>
              <a:t> Rochester’s first wife, she is described in animalistic terms:   “purple…the lips swelled and dark”, “savage” with “thick and dark hair” and altogether reminiscent of a vampire (270). She is compared to a hyena, with “dark, grizzled hair” (278). Initially seduced, Rochester tells that only upon marrying her did he </a:t>
            </a:r>
            <a:r>
              <a:rPr lang="en-US" sz="2900" dirty="0" err="1"/>
              <a:t>realise</a:t>
            </a:r>
            <a:r>
              <a:rPr lang="en-US" sz="2900" dirty="0"/>
              <a:t> she was “bad, mad, and </a:t>
            </a:r>
            <a:r>
              <a:rPr lang="en-US" sz="2900" dirty="0" err="1"/>
              <a:t>embruted</a:t>
            </a:r>
            <a:r>
              <a:rPr lang="en-US" sz="2900" dirty="0"/>
              <a:t>” (278) with “a nature the most gross, impure, depraved” (291). We never hear her speak.</a:t>
            </a:r>
          </a:p>
          <a:p>
            <a:r>
              <a:rPr lang="en-US" sz="2900" dirty="0"/>
              <a:t>”Othering” through 1) ambiguous ethnicity (a Creole, , the daughter of a white European settler in the West Indies); and 2) mental condition (the “madwoman in the attic”)</a:t>
            </a:r>
          </a:p>
          <a:p>
            <a:endParaRPr lang="en-US" sz="2900" dirty="0"/>
          </a:p>
          <a:p>
            <a:pPr algn="r"/>
            <a:r>
              <a:rPr lang="en-US" sz="1700" dirty="0"/>
              <a:t>Image: One of Edmund H. Garrett illustrations to an edition of Jane Eyre in 1897, representing Bertha Mason’s death when she sets alight Thornfield Hall, </a:t>
            </a:r>
            <a:r>
              <a:rPr lang="en-US" sz="1700" dirty="0" err="1"/>
              <a:t>Mr</a:t>
            </a:r>
            <a:r>
              <a:rPr lang="en-US" sz="1700" dirty="0"/>
              <a:t> Rochester’s home</a:t>
            </a:r>
            <a:r>
              <a:rPr lang="en-US" sz="1200" dirty="0"/>
              <a:t>.</a:t>
            </a:r>
          </a:p>
          <a:p>
            <a:endParaRPr lang="en-US" dirty="0"/>
          </a:p>
        </p:txBody>
      </p:sp>
      <p:pic>
        <p:nvPicPr>
          <p:cNvPr id="5" name="Picture 4" descr="A picture containing text&#10;&#10;Description automatically generated">
            <a:extLst>
              <a:ext uri="{FF2B5EF4-FFF2-40B4-BE49-F238E27FC236}">
                <a16:creationId xmlns:a16="http://schemas.microsoft.com/office/drawing/2014/main" id="{19C59A10-0CCD-C518-03B0-C76D118CC58F}"/>
              </a:ext>
            </a:extLst>
          </p:cNvPr>
          <p:cNvPicPr>
            <a:picLocks noChangeAspect="1"/>
          </p:cNvPicPr>
          <p:nvPr/>
        </p:nvPicPr>
        <p:blipFill rotWithShape="1">
          <a:blip r:embed="rId2"/>
          <a:srcRect r="2" b="8360"/>
          <a:stretch/>
        </p:blipFill>
        <p:spPr>
          <a:xfrm>
            <a:off x="7552266" y="10"/>
            <a:ext cx="4639733" cy="6857990"/>
          </a:xfrm>
          <a:prstGeom prst="rect">
            <a:avLst/>
          </a:prstGeom>
        </p:spPr>
      </p:pic>
    </p:spTree>
    <p:extLst>
      <p:ext uri="{BB962C8B-B14F-4D97-AF65-F5344CB8AC3E}">
        <p14:creationId xmlns:p14="http://schemas.microsoft.com/office/powerpoint/2010/main" val="27234296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04C0BC6-B04D-4459-B721-9C030C3927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675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B2F024E-D853-479C-B5A9-08293A2D72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Online Media 1" descr="Jane Eyre Act II: Burnt">
            <a:hlinkClick r:id="" action="ppaction://media"/>
            <a:extLst>
              <a:ext uri="{FF2B5EF4-FFF2-40B4-BE49-F238E27FC236}">
                <a16:creationId xmlns:a16="http://schemas.microsoft.com/office/drawing/2014/main" id="{3D603707-E184-18C4-27DA-E929153F735C}"/>
              </a:ext>
            </a:extLst>
          </p:cNvPr>
          <p:cNvPicPr>
            <a:picLocks noRot="1" noChangeAspect="1"/>
          </p:cNvPicPr>
          <p:nvPr>
            <a:videoFile r:link="rId1"/>
          </p:nvPr>
        </p:nvPicPr>
        <p:blipFill>
          <a:blip r:embed="rId3"/>
          <a:stretch>
            <a:fillRect/>
          </a:stretch>
        </p:blipFill>
        <p:spPr>
          <a:xfrm>
            <a:off x="1436366" y="628227"/>
            <a:ext cx="9319267" cy="5265386"/>
          </a:xfrm>
          <a:prstGeom prst="rect">
            <a:avLst/>
          </a:prstGeom>
        </p:spPr>
      </p:pic>
      <p:sp>
        <p:nvSpPr>
          <p:cNvPr id="3" name="TextBox 2">
            <a:extLst>
              <a:ext uri="{FF2B5EF4-FFF2-40B4-BE49-F238E27FC236}">
                <a16:creationId xmlns:a16="http://schemas.microsoft.com/office/drawing/2014/main" id="{37AC8944-F4DD-83D8-545F-1B193C7801E3}"/>
              </a:ext>
            </a:extLst>
          </p:cNvPr>
          <p:cNvSpPr txBox="1"/>
          <p:nvPr/>
        </p:nvSpPr>
        <p:spPr>
          <a:xfrm>
            <a:off x="744213" y="5978467"/>
            <a:ext cx="10703571" cy="369332"/>
          </a:xfrm>
          <a:prstGeom prst="rect">
            <a:avLst/>
          </a:prstGeom>
          <a:noFill/>
        </p:spPr>
        <p:txBody>
          <a:bodyPr wrap="none" rtlCol="0">
            <a:spAutoFit/>
          </a:bodyPr>
          <a:lstStyle/>
          <a:p>
            <a:r>
              <a:rPr lang="en-GB" b="0" i="0" u="none" strike="noStrike" dirty="0">
                <a:solidFill>
                  <a:srgbClr val="131313"/>
                </a:solidFill>
                <a:effectLst/>
                <a:latin typeface="Roboto" panose="02000000000000000000" pitchFamily="2" charset="0"/>
              </a:rPr>
              <a:t>Cathy Marston’s ballet Jane Eyre (Act II). Featuring Joffrey Artists: Christine </a:t>
            </a:r>
            <a:r>
              <a:rPr lang="en-GB" b="0" i="0" u="none" strike="noStrike" dirty="0" err="1">
                <a:solidFill>
                  <a:srgbClr val="131313"/>
                </a:solidFill>
                <a:effectLst/>
                <a:latin typeface="Roboto" panose="02000000000000000000" pitchFamily="2" charset="0"/>
              </a:rPr>
              <a:t>Rocas</a:t>
            </a:r>
            <a:r>
              <a:rPr lang="en-GB" b="0" i="0" u="none" strike="noStrike" dirty="0">
                <a:solidFill>
                  <a:srgbClr val="131313"/>
                </a:solidFill>
                <a:effectLst/>
                <a:latin typeface="Roboto" panose="02000000000000000000" pitchFamily="2" charset="0"/>
              </a:rPr>
              <a:t> and Greig Matthews.</a:t>
            </a:r>
            <a:endParaRPr lang="en-US" dirty="0"/>
          </a:p>
        </p:txBody>
      </p:sp>
    </p:spTree>
    <p:extLst>
      <p:ext uri="{BB962C8B-B14F-4D97-AF65-F5344CB8AC3E}">
        <p14:creationId xmlns:p14="http://schemas.microsoft.com/office/powerpoint/2010/main" val="3216892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tint val="95000"/>
            <a:shade val="85000"/>
            <a:satMod val="125000"/>
          </a:schemeClr>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B821C225-5C4D-4168-90AF-3D263D72CBA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reeform 16">
            <a:extLst>
              <a:ext uri="{FF2B5EF4-FFF2-40B4-BE49-F238E27FC236}">
                <a16:creationId xmlns:a16="http://schemas.microsoft.com/office/drawing/2014/main" id="{A10C41F2-1746-4431-9B52-B9F147A896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custGeom>
            <a:avLst/>
            <a:gdLst>
              <a:gd name="connsiteX0" fmla="*/ 0 w 3096136"/>
              <a:gd name="connsiteY0" fmla="*/ 0 h 5856137"/>
              <a:gd name="connsiteX1" fmla="*/ 3096136 w 3096136"/>
              <a:gd name="connsiteY1" fmla="*/ 0 h 5856137"/>
              <a:gd name="connsiteX2" fmla="*/ 3096136 w 3096136"/>
              <a:gd name="connsiteY2" fmla="*/ 5856137 h 5856137"/>
              <a:gd name="connsiteX3" fmla="*/ 0 w 3096136"/>
              <a:gd name="connsiteY3" fmla="*/ 5856137 h 5856137"/>
            </a:gdLst>
            <a:ahLst/>
            <a:cxnLst>
              <a:cxn ang="0">
                <a:pos x="connsiteX0" y="connsiteY0"/>
              </a:cxn>
              <a:cxn ang="0">
                <a:pos x="connsiteX1" y="connsiteY1"/>
              </a:cxn>
              <a:cxn ang="0">
                <a:pos x="connsiteX2" y="connsiteY2"/>
              </a:cxn>
              <a:cxn ang="0">
                <a:pos x="connsiteX3" y="connsiteY3"/>
              </a:cxn>
            </a:cxnLst>
            <a:rect l="l" t="t" r="r" b="b"/>
            <a:pathLst>
              <a:path w="3096136" h="5856137">
                <a:moveTo>
                  <a:pt x="0" y="0"/>
                </a:moveTo>
                <a:lnTo>
                  <a:pt x="3096136" y="0"/>
                </a:lnTo>
                <a:lnTo>
                  <a:pt x="3096136" y="5856137"/>
                </a:lnTo>
                <a:lnTo>
                  <a:pt x="0" y="5856137"/>
                </a:lnTo>
                <a:close/>
              </a:path>
            </a:pathLst>
          </a:custGeom>
          <a:blipFill dpi="0" rotWithShape="1">
            <a:blip r:embed="rId2">
              <a:duotone>
                <a:schemeClr val="accent1">
                  <a:shade val="45000"/>
                  <a:satMod val="135000"/>
                </a:schemeClr>
                <a:prstClr val="white"/>
              </a:duotone>
            </a:blip>
            <a:srcRect/>
            <a:tile tx="-444500" ty="-127000" sx="50000" sy="50000" flip="xy"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useBgFill="1">
        <p:nvSpPr>
          <p:cNvPr id="11" name="Rectangle 10">
            <a:extLst>
              <a:ext uri="{FF2B5EF4-FFF2-40B4-BE49-F238E27FC236}">
                <a16:creationId xmlns:a16="http://schemas.microsoft.com/office/drawing/2014/main" id="{7984928E-D694-4849-BBAD-D7C7DC4054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94020" y="643461"/>
            <a:ext cx="7654513" cy="557106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0BAC27F-E300-8F5A-76B4-5471FEF7AC9A}"/>
              </a:ext>
            </a:extLst>
          </p:cNvPr>
          <p:cNvSpPr txBox="1"/>
          <p:nvPr/>
        </p:nvSpPr>
        <p:spPr>
          <a:xfrm>
            <a:off x="4219802" y="1045600"/>
            <a:ext cx="7006998" cy="3370634"/>
          </a:xfrm>
          <a:prstGeom prst="rect">
            <a:avLst/>
          </a:prstGeom>
        </p:spPr>
        <p:txBody>
          <a:bodyPr vert="horz" lIns="45720" tIns="45720" rIns="45720" bIns="45720" rtlCol="0" anchor="b">
            <a:noAutofit/>
          </a:bodyPr>
          <a:lstStyle/>
          <a:p>
            <a:pPr defTabSz="914400">
              <a:lnSpc>
                <a:spcPct val="90000"/>
              </a:lnSpc>
              <a:spcAft>
                <a:spcPts val="600"/>
              </a:spcAft>
              <a:buClr>
                <a:schemeClr val="accent1"/>
              </a:buClr>
            </a:pPr>
            <a:r>
              <a:rPr lang="en-US" dirty="0"/>
              <a:t>I argue that race, gender and class are not distinct realms of experience, existing in splendid isolation from each other; […] Rather, they come into existence </a:t>
            </a:r>
            <a:r>
              <a:rPr lang="en-US" i="1" dirty="0"/>
              <a:t>in and through</a:t>
            </a:r>
            <a:r>
              <a:rPr lang="en-US" dirty="0"/>
              <a:t> relation to each other – if in contradictory and conflictual ways. In this sense, gender, race and class can be called articulated categories. (1995, 5)</a:t>
            </a:r>
          </a:p>
          <a:p>
            <a:pPr defTabSz="914400">
              <a:lnSpc>
                <a:spcPct val="90000"/>
              </a:lnSpc>
              <a:spcAft>
                <a:spcPts val="600"/>
              </a:spcAft>
              <a:buClr>
                <a:schemeClr val="accent1"/>
              </a:buClr>
            </a:pPr>
            <a:endParaRPr lang="en-US" dirty="0"/>
          </a:p>
          <a:p>
            <a:pPr defTabSz="914400">
              <a:lnSpc>
                <a:spcPct val="90000"/>
              </a:lnSpc>
              <a:spcAft>
                <a:spcPts val="600"/>
              </a:spcAft>
              <a:buClr>
                <a:schemeClr val="accent1"/>
              </a:buClr>
            </a:pPr>
            <a:r>
              <a:rPr lang="en-US" dirty="0"/>
              <a:t>I write, then, in conviction that history is not shaped around a privileged social category. Race and class difference cannot, I believe, be understood as sequentially derivative of sexual difference, or vice versa. Rather, the formative categories of imperial modernity are articulated categories in the sense that they come into being in historical relations to each other and emerge only in dynamic, shifting and intimate interdependence. (1995, 61)</a:t>
            </a:r>
          </a:p>
        </p:txBody>
      </p:sp>
      <p:cxnSp>
        <p:nvCxnSpPr>
          <p:cNvPr id="13" name="Straight Connector 12">
            <a:extLst>
              <a:ext uri="{FF2B5EF4-FFF2-40B4-BE49-F238E27FC236}">
                <a16:creationId xmlns:a16="http://schemas.microsoft.com/office/drawing/2014/main" id="{99237721-19CF-41B1-AA0A-E1E1A8282D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324317" y="4576004"/>
            <a:ext cx="457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B16EFEF-261E-1E91-70EA-117DE5315566}"/>
              </a:ext>
            </a:extLst>
          </p:cNvPr>
          <p:cNvSpPr txBox="1"/>
          <p:nvPr/>
        </p:nvSpPr>
        <p:spPr>
          <a:xfrm>
            <a:off x="5130800" y="4748936"/>
            <a:ext cx="6096000" cy="646331"/>
          </a:xfrm>
          <a:prstGeom prst="rect">
            <a:avLst/>
          </a:prstGeom>
          <a:noFill/>
        </p:spPr>
        <p:txBody>
          <a:bodyPr wrap="square">
            <a:spAutoFit/>
          </a:bodyPr>
          <a:lstStyle/>
          <a:p>
            <a:pPr algn="r"/>
            <a:r>
              <a:rPr lang="en-GB" b="0" i="0" u="none" strike="noStrike" dirty="0">
                <a:effectLst/>
              </a:rPr>
              <a:t>Anne McClintock, </a:t>
            </a:r>
            <a:r>
              <a:rPr lang="en-GB" b="0" i="1" u="none" strike="noStrike" dirty="0">
                <a:effectLst/>
              </a:rPr>
              <a:t>Imperial Leather: Race, Gender and Sexuality in the Colonial Contest </a:t>
            </a:r>
            <a:endParaRPr lang="en-US" i="1" dirty="0"/>
          </a:p>
        </p:txBody>
      </p:sp>
    </p:spTree>
    <p:extLst>
      <p:ext uri="{BB962C8B-B14F-4D97-AF65-F5344CB8AC3E}">
        <p14:creationId xmlns:p14="http://schemas.microsoft.com/office/powerpoint/2010/main" val="428364751"/>
      </p:ext>
    </p:extLst>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CD2B798-7994-4548-A2BE-4AEF9C1A5F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7" name="Oval 5">
            <a:extLst>
              <a:ext uri="{FF2B5EF4-FFF2-40B4-BE49-F238E27FC236}">
                <a16:creationId xmlns:a16="http://schemas.microsoft.com/office/drawing/2014/main" id="{E6162320-3B67-42BB-AF9D-939326E648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cxnSp>
        <p:nvCxnSpPr>
          <p:cNvPr id="29" name="Straight Connector 28">
            <a:extLst>
              <a:ext uri="{FF2B5EF4-FFF2-40B4-BE49-F238E27FC236}">
                <a16:creationId xmlns:a16="http://schemas.microsoft.com/office/drawing/2014/main" id="{6722E143-84C1-4F95-937C-78B92D2811C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B1A5ADC-12F0-53A8-F3C2-F6268AADAB5A}"/>
              </a:ext>
            </a:extLst>
          </p:cNvPr>
          <p:cNvSpPr>
            <a:spLocks noGrp="1"/>
          </p:cNvSpPr>
          <p:nvPr>
            <p:ph type="title"/>
          </p:nvPr>
        </p:nvSpPr>
        <p:spPr>
          <a:xfrm>
            <a:off x="457200" y="4960137"/>
            <a:ext cx="7772400" cy="1463040"/>
          </a:xfrm>
        </p:spPr>
        <p:txBody>
          <a:bodyPr vert="horz" lIns="91440" tIns="45720" rIns="91440" bIns="45720" rtlCol="0" anchor="ctr">
            <a:normAutofit/>
          </a:bodyPr>
          <a:lstStyle/>
          <a:p>
            <a:pPr algn="r"/>
            <a:r>
              <a:rPr lang="en-US" kern="1200" cap="all" spc="200" baseline="0" dirty="0">
                <a:solidFill>
                  <a:schemeClr val="tx1">
                    <a:lumMod val="95000"/>
                    <a:lumOff val="5000"/>
                  </a:schemeClr>
                </a:solidFill>
                <a:latin typeface="+mj-lt"/>
                <a:ea typeface="+mj-ea"/>
                <a:cs typeface="+mj-cs"/>
              </a:rPr>
              <a:t>Crossing borders</a:t>
            </a:r>
          </a:p>
        </p:txBody>
      </p:sp>
      <p:pic>
        <p:nvPicPr>
          <p:cNvPr id="9" name="Picture 8" descr="Graphical user interface, website&#10;&#10;Description automatically generated">
            <a:extLst>
              <a:ext uri="{FF2B5EF4-FFF2-40B4-BE49-F238E27FC236}">
                <a16:creationId xmlns:a16="http://schemas.microsoft.com/office/drawing/2014/main" id="{6CCE0B42-5327-A68B-8E33-9D3BC62592CF}"/>
              </a:ext>
            </a:extLst>
          </p:cNvPr>
          <p:cNvPicPr>
            <a:picLocks noChangeAspect="1"/>
          </p:cNvPicPr>
          <p:nvPr/>
        </p:nvPicPr>
        <p:blipFill rotWithShape="1">
          <a:blip r:embed="rId2"/>
          <a:srcRect b="6250"/>
          <a:stretch/>
        </p:blipFill>
        <p:spPr>
          <a:xfrm>
            <a:off x="20" y="10"/>
            <a:ext cx="12191980" cy="4571990"/>
          </a:xfrm>
          <a:prstGeom prst="rect">
            <a:avLst/>
          </a:prstGeom>
        </p:spPr>
      </p:pic>
    </p:spTree>
    <p:extLst>
      <p:ext uri="{BB962C8B-B14F-4D97-AF65-F5344CB8AC3E}">
        <p14:creationId xmlns:p14="http://schemas.microsoft.com/office/powerpoint/2010/main" val="33226243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6F0F8-02FA-F0CF-F893-A7E68566885D}"/>
              </a:ext>
            </a:extLst>
          </p:cNvPr>
          <p:cNvSpPr>
            <a:spLocks noGrp="1"/>
          </p:cNvSpPr>
          <p:nvPr>
            <p:ph type="title"/>
          </p:nvPr>
        </p:nvSpPr>
        <p:spPr>
          <a:xfrm>
            <a:off x="1024128" y="585216"/>
            <a:ext cx="6066818" cy="1499616"/>
          </a:xfrm>
        </p:spPr>
        <p:txBody>
          <a:bodyPr>
            <a:normAutofit/>
          </a:bodyPr>
          <a:lstStyle/>
          <a:p>
            <a:r>
              <a:rPr lang="en-US" dirty="0"/>
              <a:t>Gender and the nation</a:t>
            </a:r>
          </a:p>
        </p:txBody>
      </p:sp>
      <p:sp>
        <p:nvSpPr>
          <p:cNvPr id="9" name="Content Placeholder 8">
            <a:extLst>
              <a:ext uri="{FF2B5EF4-FFF2-40B4-BE49-F238E27FC236}">
                <a16:creationId xmlns:a16="http://schemas.microsoft.com/office/drawing/2014/main" id="{C13CD879-02B7-249B-5C96-14B9CABB5B2D}"/>
              </a:ext>
            </a:extLst>
          </p:cNvPr>
          <p:cNvSpPr>
            <a:spLocks noGrp="1"/>
          </p:cNvSpPr>
          <p:nvPr>
            <p:ph idx="1"/>
          </p:nvPr>
        </p:nvSpPr>
        <p:spPr>
          <a:xfrm>
            <a:off x="775504" y="1932971"/>
            <a:ext cx="6435524" cy="4618299"/>
          </a:xfrm>
        </p:spPr>
        <p:txBody>
          <a:bodyPr>
            <a:normAutofit/>
          </a:bodyPr>
          <a:lstStyle/>
          <a:p>
            <a:r>
              <a:rPr lang="en-US" dirty="0"/>
              <a:t>From filiation to affiliation = expanding the origin story</a:t>
            </a:r>
          </a:p>
          <a:p>
            <a:r>
              <a:rPr lang="en-US" dirty="0"/>
              <a:t>Critique of studies in nationalism and nation-state building (nation as produced and reproduced), even Benedict Anderson’s claim that nations are “imagined communities”: they are blind to gender</a:t>
            </a:r>
          </a:p>
          <a:p>
            <a:r>
              <a:rPr lang="en-US" dirty="0"/>
              <a:t>Nations can be constructed as naturally given and uncontested, but gender plays a key role. Women are involved in these movements:</a:t>
            </a:r>
          </a:p>
          <a:p>
            <a:pPr lvl="1">
              <a:buFont typeface="Arial" panose="020B0604020202020204" pitchFamily="34" charset="0"/>
              <a:buChar char="•"/>
            </a:pPr>
            <a:r>
              <a:rPr lang="en-US" dirty="0"/>
              <a:t>As biological reproducers of the national community;</a:t>
            </a:r>
          </a:p>
          <a:p>
            <a:pPr lvl="1">
              <a:buFont typeface="Arial" panose="020B0604020202020204" pitchFamily="34" charset="0"/>
              <a:buChar char="•"/>
            </a:pPr>
            <a:r>
              <a:rPr lang="en-US" dirty="0"/>
              <a:t>As ideological and social reproducers of the nation;</a:t>
            </a:r>
          </a:p>
          <a:p>
            <a:pPr lvl="1">
              <a:buFont typeface="Arial" panose="020B0604020202020204" pitchFamily="34" charset="0"/>
              <a:buChar char="•"/>
            </a:pPr>
            <a:r>
              <a:rPr lang="en-US" dirty="0"/>
              <a:t>As reproducers of its boundaries and symbols of national identity;</a:t>
            </a:r>
          </a:p>
          <a:p>
            <a:pPr lvl="1">
              <a:buFont typeface="Arial" panose="020B0604020202020204" pitchFamily="34" charset="0"/>
              <a:buChar char="•"/>
            </a:pPr>
            <a:r>
              <a:rPr lang="en-US" dirty="0"/>
              <a:t>As active participants in (or as fighters in the resistance against) national and military struggles. </a:t>
            </a:r>
          </a:p>
        </p:txBody>
      </p:sp>
      <p:pic>
        <p:nvPicPr>
          <p:cNvPr id="5" name="Content Placeholder 4" descr="A person holding a surfboard&#10;&#10;Description automatically generated with low confidence">
            <a:extLst>
              <a:ext uri="{FF2B5EF4-FFF2-40B4-BE49-F238E27FC236}">
                <a16:creationId xmlns:a16="http://schemas.microsoft.com/office/drawing/2014/main" id="{0F6D2496-51A4-92E6-7854-09A44FC1140F}"/>
              </a:ext>
            </a:extLst>
          </p:cNvPr>
          <p:cNvPicPr>
            <a:picLocks noChangeAspect="1"/>
          </p:cNvPicPr>
          <p:nvPr/>
        </p:nvPicPr>
        <p:blipFill rotWithShape="1">
          <a:blip r:embed="rId2"/>
          <a:srcRect l="10094"/>
          <a:stretch/>
        </p:blipFill>
        <p:spPr>
          <a:xfrm>
            <a:off x="7552266" y="10"/>
            <a:ext cx="4639733" cy="6857990"/>
          </a:xfrm>
          <a:prstGeom prst="rect">
            <a:avLst/>
          </a:prstGeom>
        </p:spPr>
      </p:pic>
    </p:spTree>
    <p:extLst>
      <p:ext uri="{BB962C8B-B14F-4D97-AF65-F5344CB8AC3E}">
        <p14:creationId xmlns:p14="http://schemas.microsoft.com/office/powerpoint/2010/main" val="36117474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5DCDDFC-6745-472C-B47E-006C3CF4A653}"/>
              </a:ext>
            </a:extLst>
          </p:cNvPr>
          <p:cNvSpPr txBox="1"/>
          <p:nvPr/>
        </p:nvSpPr>
        <p:spPr>
          <a:xfrm>
            <a:off x="2911642" y="2803357"/>
            <a:ext cx="1511952" cy="707886"/>
          </a:xfrm>
          <a:prstGeom prst="rect">
            <a:avLst/>
          </a:prstGeom>
          <a:noFill/>
        </p:spPr>
        <p:txBody>
          <a:bodyPr wrap="none" rtlCol="0">
            <a:spAutoFit/>
          </a:bodyPr>
          <a:lstStyle/>
          <a:p>
            <a:r>
              <a:rPr lang="en-US" sz="4000" dirty="0"/>
              <a:t>M(ale)</a:t>
            </a:r>
          </a:p>
        </p:txBody>
      </p:sp>
      <p:sp>
        <p:nvSpPr>
          <p:cNvPr id="3" name="TextBox 2">
            <a:extLst>
              <a:ext uri="{FF2B5EF4-FFF2-40B4-BE49-F238E27FC236}">
                <a16:creationId xmlns:a16="http://schemas.microsoft.com/office/drawing/2014/main" id="{04A77574-26FF-EE5A-4A7C-D9A5CA0561FE}"/>
              </a:ext>
            </a:extLst>
          </p:cNvPr>
          <p:cNvSpPr txBox="1"/>
          <p:nvPr/>
        </p:nvSpPr>
        <p:spPr>
          <a:xfrm flipH="1">
            <a:off x="7277469" y="2803357"/>
            <a:ext cx="1962802" cy="707886"/>
          </a:xfrm>
          <a:prstGeom prst="rect">
            <a:avLst/>
          </a:prstGeom>
          <a:noFill/>
        </p:spPr>
        <p:txBody>
          <a:bodyPr wrap="square" rtlCol="0">
            <a:spAutoFit/>
          </a:bodyPr>
          <a:lstStyle/>
          <a:p>
            <a:r>
              <a:rPr lang="en-US" sz="4000" dirty="0"/>
              <a:t>F(</a:t>
            </a:r>
            <a:r>
              <a:rPr lang="en-US" sz="4000" dirty="0" err="1"/>
              <a:t>emale</a:t>
            </a:r>
            <a:r>
              <a:rPr lang="en-US" sz="4000" dirty="0"/>
              <a:t>)</a:t>
            </a:r>
          </a:p>
        </p:txBody>
      </p:sp>
      <p:sp>
        <p:nvSpPr>
          <p:cNvPr id="6" name="TextBox 5">
            <a:extLst>
              <a:ext uri="{FF2B5EF4-FFF2-40B4-BE49-F238E27FC236}">
                <a16:creationId xmlns:a16="http://schemas.microsoft.com/office/drawing/2014/main" id="{1C7DE4A8-ED34-FA38-8EBA-8F3983A74786}"/>
              </a:ext>
            </a:extLst>
          </p:cNvPr>
          <p:cNvSpPr txBox="1"/>
          <p:nvPr/>
        </p:nvSpPr>
        <p:spPr>
          <a:xfrm>
            <a:off x="5212081" y="4150895"/>
            <a:ext cx="1569720" cy="369332"/>
          </a:xfrm>
          <a:prstGeom prst="rect">
            <a:avLst/>
          </a:prstGeom>
          <a:noFill/>
        </p:spPr>
        <p:txBody>
          <a:bodyPr wrap="square" rtlCol="0">
            <a:spAutoFit/>
          </a:bodyPr>
          <a:lstStyle/>
          <a:p>
            <a:r>
              <a:rPr lang="en-US" dirty="0"/>
              <a:t>Distinction m/f </a:t>
            </a:r>
          </a:p>
        </p:txBody>
      </p:sp>
      <p:sp>
        <p:nvSpPr>
          <p:cNvPr id="7" name="TextBox 6">
            <a:extLst>
              <a:ext uri="{FF2B5EF4-FFF2-40B4-BE49-F238E27FC236}">
                <a16:creationId xmlns:a16="http://schemas.microsoft.com/office/drawing/2014/main" id="{AFD365EE-DCBF-4AE6-0077-DABB7F6C65DD}"/>
              </a:ext>
            </a:extLst>
          </p:cNvPr>
          <p:cNvSpPr txBox="1"/>
          <p:nvPr/>
        </p:nvSpPr>
        <p:spPr>
          <a:xfrm>
            <a:off x="411480" y="0"/>
            <a:ext cx="2388795" cy="1015663"/>
          </a:xfrm>
          <a:prstGeom prst="rect">
            <a:avLst/>
          </a:prstGeom>
          <a:noFill/>
        </p:spPr>
        <p:txBody>
          <a:bodyPr wrap="none" rtlCol="0">
            <a:spAutoFit/>
          </a:bodyPr>
          <a:lstStyle/>
          <a:p>
            <a:r>
              <a:rPr lang="en-US" sz="6000" b="1" dirty="0"/>
              <a:t>RECAP</a:t>
            </a:r>
          </a:p>
        </p:txBody>
      </p:sp>
      <p:sp>
        <p:nvSpPr>
          <p:cNvPr id="8" name="TextBox 7">
            <a:extLst>
              <a:ext uri="{FF2B5EF4-FFF2-40B4-BE49-F238E27FC236}">
                <a16:creationId xmlns:a16="http://schemas.microsoft.com/office/drawing/2014/main" id="{EFB94503-E330-CC8A-9886-CB0C2E2D717B}"/>
              </a:ext>
            </a:extLst>
          </p:cNvPr>
          <p:cNvSpPr txBox="1"/>
          <p:nvPr/>
        </p:nvSpPr>
        <p:spPr>
          <a:xfrm>
            <a:off x="4055414" y="6211669"/>
            <a:ext cx="8136586" cy="646331"/>
          </a:xfrm>
          <a:prstGeom prst="rect">
            <a:avLst/>
          </a:prstGeom>
          <a:noFill/>
        </p:spPr>
        <p:txBody>
          <a:bodyPr wrap="none" rtlCol="0">
            <a:spAutoFit/>
          </a:bodyPr>
          <a:lstStyle/>
          <a:p>
            <a:r>
              <a:rPr lang="en-US" dirty="0"/>
              <a:t>From Janet Halley (2006) </a:t>
            </a:r>
            <a:r>
              <a:rPr lang="en-US" i="1" dirty="0"/>
              <a:t>Split Decisions: How and why to take a break from feminism</a:t>
            </a:r>
          </a:p>
          <a:p>
            <a:endParaRPr lang="en-US" dirty="0"/>
          </a:p>
        </p:txBody>
      </p:sp>
    </p:spTree>
    <p:extLst>
      <p:ext uri="{BB962C8B-B14F-4D97-AF65-F5344CB8AC3E}">
        <p14:creationId xmlns:p14="http://schemas.microsoft.com/office/powerpoint/2010/main" val="35071009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5DCDDFC-6745-472C-B47E-006C3CF4A653}"/>
              </a:ext>
            </a:extLst>
          </p:cNvPr>
          <p:cNvSpPr txBox="1"/>
          <p:nvPr/>
        </p:nvSpPr>
        <p:spPr>
          <a:xfrm>
            <a:off x="3898231" y="2803357"/>
            <a:ext cx="580608" cy="707886"/>
          </a:xfrm>
          <a:prstGeom prst="rect">
            <a:avLst/>
          </a:prstGeom>
          <a:noFill/>
        </p:spPr>
        <p:txBody>
          <a:bodyPr wrap="none" rtlCol="0">
            <a:spAutoFit/>
          </a:bodyPr>
          <a:lstStyle/>
          <a:p>
            <a:r>
              <a:rPr lang="en-US" sz="4000" dirty="0"/>
              <a:t>M</a:t>
            </a:r>
          </a:p>
        </p:txBody>
      </p:sp>
      <p:sp>
        <p:nvSpPr>
          <p:cNvPr id="3" name="TextBox 2">
            <a:extLst>
              <a:ext uri="{FF2B5EF4-FFF2-40B4-BE49-F238E27FC236}">
                <a16:creationId xmlns:a16="http://schemas.microsoft.com/office/drawing/2014/main" id="{04A77574-26FF-EE5A-4A7C-D9A5CA0561FE}"/>
              </a:ext>
            </a:extLst>
          </p:cNvPr>
          <p:cNvSpPr txBox="1"/>
          <p:nvPr/>
        </p:nvSpPr>
        <p:spPr>
          <a:xfrm flipH="1">
            <a:off x="7277469" y="2803357"/>
            <a:ext cx="1962802" cy="707886"/>
          </a:xfrm>
          <a:prstGeom prst="rect">
            <a:avLst/>
          </a:prstGeom>
          <a:noFill/>
        </p:spPr>
        <p:txBody>
          <a:bodyPr wrap="square" rtlCol="0">
            <a:spAutoFit/>
          </a:bodyPr>
          <a:lstStyle/>
          <a:p>
            <a:r>
              <a:rPr lang="en-US" sz="4000" dirty="0"/>
              <a:t>F</a:t>
            </a:r>
          </a:p>
        </p:txBody>
      </p:sp>
      <p:sp>
        <p:nvSpPr>
          <p:cNvPr id="4" name="TextBox 3">
            <a:extLst>
              <a:ext uri="{FF2B5EF4-FFF2-40B4-BE49-F238E27FC236}">
                <a16:creationId xmlns:a16="http://schemas.microsoft.com/office/drawing/2014/main" id="{E1AA5FD8-C3B2-7877-3517-D9C1CE09813F}"/>
              </a:ext>
            </a:extLst>
          </p:cNvPr>
          <p:cNvSpPr txBox="1"/>
          <p:nvPr/>
        </p:nvSpPr>
        <p:spPr>
          <a:xfrm>
            <a:off x="4055414" y="6211669"/>
            <a:ext cx="8136586" cy="646331"/>
          </a:xfrm>
          <a:prstGeom prst="rect">
            <a:avLst/>
          </a:prstGeom>
          <a:noFill/>
        </p:spPr>
        <p:txBody>
          <a:bodyPr wrap="none" rtlCol="0">
            <a:spAutoFit/>
          </a:bodyPr>
          <a:lstStyle/>
          <a:p>
            <a:r>
              <a:rPr lang="en-US" dirty="0"/>
              <a:t>From Janet Halley (2006) </a:t>
            </a:r>
            <a:r>
              <a:rPr lang="en-US" i="1" dirty="0"/>
              <a:t>Split Decisions: How and why to take a break from feminism</a:t>
            </a:r>
          </a:p>
          <a:p>
            <a:endParaRPr lang="en-US" dirty="0"/>
          </a:p>
        </p:txBody>
      </p:sp>
      <p:sp>
        <p:nvSpPr>
          <p:cNvPr id="9" name="Right Arrow 8">
            <a:extLst>
              <a:ext uri="{FF2B5EF4-FFF2-40B4-BE49-F238E27FC236}">
                <a16:creationId xmlns:a16="http://schemas.microsoft.com/office/drawing/2014/main" id="{54EBE37A-8914-08C3-F97D-077A98407297}"/>
              </a:ext>
            </a:extLst>
          </p:cNvPr>
          <p:cNvSpPr/>
          <p:nvPr/>
        </p:nvSpPr>
        <p:spPr>
          <a:xfrm>
            <a:off x="5013960" y="3017520"/>
            <a:ext cx="1844040" cy="4114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96BC61F8-8C60-8B91-FA14-86D038E6AEA4}"/>
              </a:ext>
            </a:extLst>
          </p:cNvPr>
          <p:cNvSpPr txBox="1"/>
          <p:nvPr/>
        </p:nvSpPr>
        <p:spPr>
          <a:xfrm>
            <a:off x="883920" y="3765223"/>
            <a:ext cx="10161069" cy="2031325"/>
          </a:xfrm>
          <a:prstGeom prst="rect">
            <a:avLst/>
          </a:prstGeom>
          <a:noFill/>
        </p:spPr>
        <p:txBody>
          <a:bodyPr wrap="square" rtlCol="0">
            <a:spAutoFit/>
          </a:bodyPr>
          <a:lstStyle/>
          <a:p>
            <a:pPr algn="ctr"/>
            <a:r>
              <a:rPr lang="en-US" dirty="0"/>
              <a:t>Relation of dominance, oppression</a:t>
            </a:r>
          </a:p>
          <a:p>
            <a:pPr algn="ctr"/>
            <a:endParaRPr lang="en-US" dirty="0"/>
          </a:p>
          <a:p>
            <a:pPr algn="ctr"/>
            <a:r>
              <a:rPr lang="en-US" dirty="0"/>
              <a:t>Feminism:</a:t>
            </a:r>
          </a:p>
          <a:p>
            <a:pPr marL="285750" indent="-285750" algn="ctr">
              <a:buFont typeface="Arial" panose="020B0604020202020204" pitchFamily="34" charset="0"/>
              <a:buChar char="•"/>
            </a:pPr>
            <a:r>
              <a:rPr lang="en-US" dirty="0"/>
              <a:t>a commitment to be a theory about, and a practice about, the subordination of f to m (</a:t>
            </a:r>
            <a:r>
              <a:rPr lang="en-GB" sz="1800" dirty="0">
                <a:effectLst/>
                <a:latin typeface="LiberationSerif"/>
              </a:rPr>
              <a:t>m &gt; f</a:t>
            </a:r>
            <a:r>
              <a:rPr lang="en-US" dirty="0"/>
              <a:t>) </a:t>
            </a:r>
          </a:p>
          <a:p>
            <a:pPr marL="285750" indent="-285750" algn="ctr">
              <a:buFont typeface="Arial" panose="020B0604020202020204" pitchFamily="34" charset="0"/>
              <a:buChar char="•"/>
            </a:pPr>
            <a:r>
              <a:rPr lang="en-US" dirty="0"/>
              <a:t>a commitment to work against that subordination on behalf of f (</a:t>
            </a:r>
            <a:r>
              <a:rPr lang="en-GB" sz="1800" dirty="0">
                <a:effectLst/>
                <a:latin typeface="LiberationSerif"/>
              </a:rPr>
              <a:t>carrying a brief for f)</a:t>
            </a:r>
            <a:endParaRPr lang="en-GB" dirty="0"/>
          </a:p>
          <a:p>
            <a:pPr algn="ctr"/>
            <a:endParaRPr lang="en-US" dirty="0"/>
          </a:p>
          <a:p>
            <a:pPr algn="ctr"/>
            <a:r>
              <a:rPr lang="en-US" dirty="0"/>
              <a:t>Descriptive and prescriptive element</a:t>
            </a:r>
          </a:p>
        </p:txBody>
      </p:sp>
      <p:sp>
        <p:nvSpPr>
          <p:cNvPr id="11" name="TextBox 10">
            <a:extLst>
              <a:ext uri="{FF2B5EF4-FFF2-40B4-BE49-F238E27FC236}">
                <a16:creationId xmlns:a16="http://schemas.microsoft.com/office/drawing/2014/main" id="{17605C59-8B9B-167E-3328-B373B5974768}"/>
              </a:ext>
            </a:extLst>
          </p:cNvPr>
          <p:cNvSpPr txBox="1"/>
          <p:nvPr/>
        </p:nvSpPr>
        <p:spPr>
          <a:xfrm>
            <a:off x="5013960" y="1870989"/>
            <a:ext cx="1844041" cy="369332"/>
          </a:xfrm>
          <a:prstGeom prst="rect">
            <a:avLst/>
          </a:prstGeom>
          <a:noFill/>
        </p:spPr>
        <p:txBody>
          <a:bodyPr wrap="square" rtlCol="0">
            <a:spAutoFit/>
          </a:bodyPr>
          <a:lstStyle/>
          <a:p>
            <a:r>
              <a:rPr lang="en-US" dirty="0"/>
              <a:t>Mono-directional</a:t>
            </a:r>
          </a:p>
        </p:txBody>
      </p:sp>
      <p:sp>
        <p:nvSpPr>
          <p:cNvPr id="13" name="Rectangle 12">
            <a:extLst>
              <a:ext uri="{FF2B5EF4-FFF2-40B4-BE49-F238E27FC236}">
                <a16:creationId xmlns:a16="http://schemas.microsoft.com/office/drawing/2014/main" id="{3FC979A7-F2DC-A9AF-5B2B-E772BDEEBBF1}"/>
              </a:ext>
            </a:extLst>
          </p:cNvPr>
          <p:cNvSpPr/>
          <p:nvPr/>
        </p:nvSpPr>
        <p:spPr>
          <a:xfrm>
            <a:off x="9240271" y="508745"/>
            <a:ext cx="2209800" cy="13116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i="1" dirty="0"/>
              <a:t>Nature or culture?</a:t>
            </a:r>
          </a:p>
          <a:p>
            <a:pPr algn="ctr"/>
            <a:r>
              <a:rPr lang="en-US" sz="1800" i="1" dirty="0"/>
              <a:t>Sex or gender?</a:t>
            </a:r>
          </a:p>
          <a:p>
            <a:pPr algn="ctr"/>
            <a:r>
              <a:rPr lang="en-US" sz="1800" i="1" dirty="0"/>
              <a:t>Private or political?</a:t>
            </a:r>
          </a:p>
        </p:txBody>
      </p:sp>
      <p:sp>
        <p:nvSpPr>
          <p:cNvPr id="14" name="TextBox 13">
            <a:extLst>
              <a:ext uri="{FF2B5EF4-FFF2-40B4-BE49-F238E27FC236}">
                <a16:creationId xmlns:a16="http://schemas.microsoft.com/office/drawing/2014/main" id="{7F8F4653-0CC2-36A9-9C4F-E10C00D897B4}"/>
              </a:ext>
            </a:extLst>
          </p:cNvPr>
          <p:cNvSpPr txBox="1"/>
          <p:nvPr/>
        </p:nvSpPr>
        <p:spPr>
          <a:xfrm>
            <a:off x="4956133" y="2618691"/>
            <a:ext cx="1844041" cy="369332"/>
          </a:xfrm>
          <a:prstGeom prst="rect">
            <a:avLst/>
          </a:prstGeom>
          <a:noFill/>
        </p:spPr>
        <p:txBody>
          <a:bodyPr wrap="square" rtlCol="0">
            <a:spAutoFit/>
          </a:bodyPr>
          <a:lstStyle/>
          <a:p>
            <a:pPr algn="ctr"/>
            <a:r>
              <a:rPr lang="en-US" dirty="0"/>
              <a:t>oppresses</a:t>
            </a:r>
          </a:p>
        </p:txBody>
      </p:sp>
      <p:sp>
        <p:nvSpPr>
          <p:cNvPr id="5" name="TextBox 4">
            <a:extLst>
              <a:ext uri="{FF2B5EF4-FFF2-40B4-BE49-F238E27FC236}">
                <a16:creationId xmlns:a16="http://schemas.microsoft.com/office/drawing/2014/main" id="{696E2692-CCB5-C9D2-C82E-90B7AB81ACAE}"/>
              </a:ext>
            </a:extLst>
          </p:cNvPr>
          <p:cNvSpPr txBox="1"/>
          <p:nvPr/>
        </p:nvSpPr>
        <p:spPr>
          <a:xfrm>
            <a:off x="411480" y="0"/>
            <a:ext cx="2388795" cy="1015663"/>
          </a:xfrm>
          <a:prstGeom prst="rect">
            <a:avLst/>
          </a:prstGeom>
          <a:noFill/>
        </p:spPr>
        <p:txBody>
          <a:bodyPr wrap="none" rtlCol="0">
            <a:spAutoFit/>
          </a:bodyPr>
          <a:lstStyle/>
          <a:p>
            <a:r>
              <a:rPr lang="en-US" sz="6000" b="1" dirty="0"/>
              <a:t>RECAP</a:t>
            </a:r>
          </a:p>
        </p:txBody>
      </p:sp>
    </p:spTree>
    <p:extLst>
      <p:ext uri="{BB962C8B-B14F-4D97-AF65-F5344CB8AC3E}">
        <p14:creationId xmlns:p14="http://schemas.microsoft.com/office/powerpoint/2010/main" val="33053454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2106BB8-199D-4133-B3CC-DEE7A1CE2988}"/>
              </a:ext>
            </a:extLst>
          </p:cNvPr>
          <p:cNvSpPr>
            <a:spLocks noGrp="1"/>
          </p:cNvSpPr>
          <p:nvPr>
            <p:ph type="title" idx="4294967295"/>
          </p:nvPr>
        </p:nvSpPr>
        <p:spPr>
          <a:xfrm>
            <a:off x="94395" y="104127"/>
            <a:ext cx="12210055" cy="1025577"/>
          </a:xfrm>
          <a:prstGeom prst="rect">
            <a:avLst/>
          </a:prstGeom>
          <a:noFill/>
          <a:ln>
            <a:noFill/>
            <a:prstDash/>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spcBef>
                <a:spcPts val="1333"/>
              </a:spcBef>
              <a:defRPr/>
            </a:pPr>
            <a:r>
              <a:rPr lang="en-GB" sz="3300" b="1" dirty="0">
                <a:solidFill>
                  <a:srgbClr val="1C3D74"/>
                </a:solidFill>
                <a:latin typeface="Arial"/>
                <a:ea typeface="+mn-ea"/>
                <a:cs typeface="Arial"/>
              </a:rPr>
              <a:t>SPIR alumni networking event </a:t>
            </a:r>
            <a:r>
              <a:rPr lang="en-GB" sz="3300" b="1" dirty="0">
                <a:solidFill>
                  <a:srgbClr val="1C3D74"/>
                </a:solidFill>
                <a:latin typeface="Arial"/>
                <a:cs typeface="Arial"/>
              </a:rPr>
              <a:t>for </a:t>
            </a:r>
            <a:r>
              <a:rPr lang="en-GB" sz="3300" b="1" dirty="0">
                <a:solidFill>
                  <a:srgbClr val="1C3D74"/>
                </a:solidFill>
                <a:latin typeface="Arial"/>
                <a:ea typeface="+mn-ea"/>
                <a:cs typeface="Arial"/>
              </a:rPr>
              <a:t>final &amp; 2</a:t>
            </a:r>
            <a:r>
              <a:rPr lang="en-GB" sz="3300" b="1" baseline="30000" dirty="0">
                <a:solidFill>
                  <a:srgbClr val="1C3D74"/>
                </a:solidFill>
                <a:latin typeface="Arial"/>
                <a:ea typeface="+mn-ea"/>
                <a:cs typeface="Arial"/>
              </a:rPr>
              <a:t>nd</a:t>
            </a:r>
            <a:r>
              <a:rPr lang="en-GB" sz="3300" b="1" dirty="0">
                <a:solidFill>
                  <a:srgbClr val="1C3D74"/>
                </a:solidFill>
                <a:latin typeface="Arial"/>
                <a:ea typeface="+mn-ea"/>
                <a:cs typeface="Arial"/>
              </a:rPr>
              <a:t> year students</a:t>
            </a:r>
            <a:endParaRPr lang="en-GB" sz="3300" b="1" dirty="0">
              <a:solidFill>
                <a:srgbClr val="1C3D74"/>
              </a:solidFill>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B35C732C-F038-4645-3D5E-33CD634364DD}"/>
              </a:ext>
            </a:extLst>
          </p:cNvPr>
          <p:cNvSpPr txBox="1"/>
          <p:nvPr/>
        </p:nvSpPr>
        <p:spPr>
          <a:xfrm>
            <a:off x="192049" y="951840"/>
            <a:ext cx="5431769" cy="2431435"/>
          </a:xfrm>
          <a:prstGeom prst="rect">
            <a:avLst/>
          </a:prstGeom>
          <a:noFill/>
        </p:spPr>
        <p:txBody>
          <a:bodyPr wrap="squar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defTabSz="914332"/>
            <a:r>
              <a:rPr lang="en-GB" sz="2400" b="1" dirty="0">
                <a:solidFill>
                  <a:srgbClr val="EC008C"/>
                </a:solidFill>
                <a:latin typeface="Arial"/>
              </a:rPr>
              <a:t>1-2.30pm Feb 29</a:t>
            </a:r>
            <a:r>
              <a:rPr lang="en-GB" sz="2400" b="1" baseline="30000" dirty="0">
                <a:solidFill>
                  <a:srgbClr val="EC008C"/>
                </a:solidFill>
                <a:latin typeface="Arial"/>
              </a:rPr>
              <a:t>th</a:t>
            </a:r>
            <a:r>
              <a:rPr lang="en-GB" sz="2400" b="1" dirty="0">
                <a:solidFill>
                  <a:srgbClr val="EC008C"/>
                </a:solidFill>
                <a:latin typeface="Arial"/>
              </a:rPr>
              <a:t>, Arts 1 Foyer</a:t>
            </a:r>
          </a:p>
          <a:p>
            <a:pPr defTabSz="914332"/>
            <a:endParaRPr lang="en-GB" sz="1600" dirty="0">
              <a:solidFill>
                <a:schemeClr val="tx2"/>
              </a:solidFill>
              <a:latin typeface="Arial"/>
            </a:endParaRPr>
          </a:p>
          <a:p>
            <a:pPr defTabSz="914332"/>
            <a:r>
              <a:rPr lang="en-GB" sz="1600" dirty="0">
                <a:solidFill>
                  <a:schemeClr val="tx2"/>
                </a:solidFill>
                <a:latin typeface="Arial"/>
              </a:rPr>
              <a:t>Get first hand insights, advice and connections from relatable QM alumni a few steps further down the road in the career paths you may be interested in. </a:t>
            </a:r>
          </a:p>
          <a:p>
            <a:pPr defTabSz="914332"/>
            <a:endParaRPr lang="en-GB" sz="1600" dirty="0">
              <a:solidFill>
                <a:schemeClr val="tx2"/>
              </a:solidFill>
              <a:latin typeface="Arial"/>
            </a:endParaRPr>
          </a:p>
          <a:p>
            <a:pPr defTabSz="914332"/>
            <a:r>
              <a:rPr lang="en-GB" sz="1600" dirty="0">
                <a:solidFill>
                  <a:schemeClr val="tx2"/>
                </a:solidFill>
                <a:latin typeface="Arial"/>
              </a:rPr>
              <a:t>Relaxed, informal set up, just ask your questions to any of the guests and/or listen to them share their experiences and tips.</a:t>
            </a:r>
            <a:endParaRPr lang="en-GB" sz="1600" b="1" dirty="0">
              <a:solidFill>
                <a:srgbClr val="EC008C"/>
              </a:solidFill>
              <a:latin typeface="Arial"/>
            </a:endParaRPr>
          </a:p>
        </p:txBody>
      </p:sp>
      <p:graphicFrame>
        <p:nvGraphicFramePr>
          <p:cNvPr id="10" name="Table 9">
            <a:extLst>
              <a:ext uri="{FF2B5EF4-FFF2-40B4-BE49-F238E27FC236}">
                <a16:creationId xmlns:a16="http://schemas.microsoft.com/office/drawing/2014/main" id="{1B05491E-29B8-8EEC-90B9-E92FF2E0C0A3}"/>
              </a:ext>
            </a:extLst>
          </p:cNvPr>
          <p:cNvGraphicFramePr>
            <a:graphicFrameLocks noGrp="1"/>
          </p:cNvGraphicFramePr>
          <p:nvPr/>
        </p:nvGraphicFramePr>
        <p:xfrm>
          <a:off x="6096000" y="760107"/>
          <a:ext cx="5795130" cy="5358043"/>
        </p:xfrm>
        <a:graphic>
          <a:graphicData uri="http://schemas.openxmlformats.org/drawingml/2006/table">
            <a:tbl>
              <a:tblPr>
                <a:tableStyleId>{8799B23B-EC83-4686-B30A-512413B5E67A}</a:tableStyleId>
              </a:tblPr>
              <a:tblGrid>
                <a:gridCol w="1718976">
                  <a:extLst>
                    <a:ext uri="{9D8B030D-6E8A-4147-A177-3AD203B41FA5}">
                      <a16:colId xmlns:a16="http://schemas.microsoft.com/office/drawing/2014/main" val="3959647225"/>
                    </a:ext>
                  </a:extLst>
                </a:gridCol>
                <a:gridCol w="4076154">
                  <a:extLst>
                    <a:ext uri="{9D8B030D-6E8A-4147-A177-3AD203B41FA5}">
                      <a16:colId xmlns:a16="http://schemas.microsoft.com/office/drawing/2014/main" val="3587012"/>
                    </a:ext>
                  </a:extLst>
                </a:gridCol>
              </a:tblGrid>
              <a:tr h="231621">
                <a:tc>
                  <a:txBody>
                    <a:bodyPr/>
                    <a:lstStyle/>
                    <a:p>
                      <a:pPr algn="l" fontAlgn="b"/>
                      <a:r>
                        <a:rPr lang="en-GB" sz="1200" b="1" u="none" strike="noStrike" dirty="0">
                          <a:solidFill>
                            <a:schemeClr val="tx1"/>
                          </a:solidFill>
                          <a:effectLst/>
                        </a:rPr>
                        <a:t>Role type</a:t>
                      </a:r>
                    </a:p>
                  </a:txBody>
                  <a:tcPr marL="8404" marR="8404" marT="8404" marB="40337" anchor="b">
                    <a:solidFill>
                      <a:schemeClr val="accent3">
                        <a:lumMod val="20000"/>
                        <a:lumOff val="80000"/>
                      </a:schemeClr>
                    </a:solidFill>
                  </a:tcPr>
                </a:tc>
                <a:tc>
                  <a:txBody>
                    <a:bodyPr/>
                    <a:lstStyle/>
                    <a:p>
                      <a:pPr algn="l" fontAlgn="b"/>
                      <a:r>
                        <a:rPr lang="en-GB" sz="1200" b="1" u="none" strike="noStrike" dirty="0">
                          <a:solidFill>
                            <a:schemeClr val="tx1"/>
                          </a:solidFill>
                          <a:effectLst/>
                        </a:rPr>
                        <a:t>Job title</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1731685463"/>
                  </a:ext>
                </a:extLst>
              </a:tr>
              <a:tr h="277611">
                <a:tc>
                  <a:txBody>
                    <a:bodyPr/>
                    <a:lstStyle/>
                    <a:p>
                      <a:pPr algn="l" fontAlgn="b"/>
                      <a:r>
                        <a:rPr lang="en-GB" sz="1200" b="1" dirty="0"/>
                        <a:t>Parliamentary </a:t>
                      </a:r>
                    </a:p>
                  </a:txBody>
                  <a:tcPr marL="8404" marR="8404" marT="8404" marB="40337" anchor="b">
                    <a:solidFill>
                      <a:schemeClr val="accent3">
                        <a:lumMod val="20000"/>
                        <a:lumOff val="80000"/>
                      </a:schemeClr>
                    </a:solidFill>
                  </a:tcPr>
                </a:tc>
                <a:tc>
                  <a:txBody>
                    <a:bodyPr/>
                    <a:lstStyle/>
                    <a:p>
                      <a:pPr algn="l" fontAlgn="b"/>
                      <a:r>
                        <a:rPr lang="en-GB" sz="1200" dirty="0"/>
                        <a:t>Senior Caseworker to the Shadow Foreign Secretary</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880040242"/>
                  </a:ext>
                </a:extLst>
              </a:tr>
              <a:tr h="279561">
                <a:tc>
                  <a:txBody>
                    <a:bodyPr/>
                    <a:lstStyle/>
                    <a:p>
                      <a:pPr algn="l" fontAlgn="b"/>
                      <a:endParaRPr lang="en-GB" sz="1200" dirty="0"/>
                    </a:p>
                  </a:txBody>
                  <a:tcPr marL="8404" marR="8404" marT="8404" marB="40337" anchor="b">
                    <a:solidFill>
                      <a:schemeClr val="accent3">
                        <a:lumMod val="20000"/>
                        <a:lumOff val="80000"/>
                      </a:schemeClr>
                    </a:solidFill>
                  </a:tcPr>
                </a:tc>
                <a:tc>
                  <a:txBody>
                    <a:bodyPr/>
                    <a:lstStyle/>
                    <a:p>
                      <a:pPr algn="l" fontAlgn="b"/>
                      <a:r>
                        <a:rPr lang="en-GB" sz="1200" dirty="0"/>
                        <a:t>Parliamentary Assistant to a Labour Member of Parliament </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2218799348"/>
                  </a:ext>
                </a:extLst>
              </a:tr>
              <a:tr h="266330">
                <a:tc>
                  <a:txBody>
                    <a:bodyPr/>
                    <a:lstStyle/>
                    <a:p>
                      <a:pPr algn="l" fontAlgn="b"/>
                      <a:endParaRPr lang="en-GB" sz="1200" dirty="0"/>
                    </a:p>
                  </a:txBody>
                  <a:tcPr marL="8404" marR="8404" marT="8404" marB="40337" anchor="b">
                    <a:solidFill>
                      <a:schemeClr val="accent3">
                        <a:lumMod val="20000"/>
                        <a:lumOff val="80000"/>
                      </a:schemeClr>
                    </a:solidFill>
                  </a:tcPr>
                </a:tc>
                <a:tc>
                  <a:txBody>
                    <a:bodyPr/>
                    <a:lstStyle/>
                    <a:p>
                      <a:pPr algn="l" fontAlgn="b"/>
                      <a:r>
                        <a:rPr lang="en-GB" sz="1200" dirty="0"/>
                        <a:t>Private Secretary to the Minister for Investment</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2330859511"/>
                  </a:ext>
                </a:extLst>
              </a:tr>
              <a:tr h="231621">
                <a:tc>
                  <a:txBody>
                    <a:bodyPr/>
                    <a:lstStyle/>
                    <a:p>
                      <a:pPr algn="l" fontAlgn="b"/>
                      <a:endParaRPr lang="en-GB" sz="1200" dirty="0"/>
                    </a:p>
                  </a:txBody>
                  <a:tcPr marL="8404" marR="8404" marT="8404" marB="40337" anchor="b">
                    <a:solidFill>
                      <a:schemeClr val="accent3">
                        <a:lumMod val="20000"/>
                        <a:lumOff val="80000"/>
                      </a:schemeClr>
                    </a:solidFill>
                  </a:tcPr>
                </a:tc>
                <a:tc>
                  <a:txBody>
                    <a:bodyPr/>
                    <a:lstStyle/>
                    <a:p>
                      <a:pPr algn="l" fontAlgn="b"/>
                      <a:endParaRPr lang="en-GB" sz="1200"/>
                    </a:p>
                  </a:txBody>
                  <a:tcPr marL="8404" marR="8404" marT="8404" marB="40337" anchor="b">
                    <a:solidFill>
                      <a:schemeClr val="accent3">
                        <a:lumMod val="20000"/>
                        <a:lumOff val="80000"/>
                      </a:schemeClr>
                    </a:solidFill>
                  </a:tcPr>
                </a:tc>
                <a:extLst>
                  <a:ext uri="{0D108BD9-81ED-4DB2-BD59-A6C34878D82A}">
                    <a16:rowId xmlns:a16="http://schemas.microsoft.com/office/drawing/2014/main" val="1840110412"/>
                  </a:ext>
                </a:extLst>
              </a:tr>
              <a:tr h="265528">
                <a:tc>
                  <a:txBody>
                    <a:bodyPr/>
                    <a:lstStyle/>
                    <a:p>
                      <a:pPr algn="l" fontAlgn="b"/>
                      <a:r>
                        <a:rPr lang="en-GB" sz="1200" b="1" dirty="0"/>
                        <a:t>Think Tanks</a:t>
                      </a:r>
                    </a:p>
                  </a:txBody>
                  <a:tcPr marL="8404" marR="8404" marT="8404" marB="40337" anchor="b">
                    <a:solidFill>
                      <a:schemeClr val="accent3">
                        <a:lumMod val="20000"/>
                        <a:lumOff val="80000"/>
                      </a:schemeClr>
                    </a:solidFill>
                  </a:tcPr>
                </a:tc>
                <a:tc>
                  <a:txBody>
                    <a:bodyPr/>
                    <a:lstStyle/>
                    <a:p>
                      <a:pPr algn="l" fontAlgn="b"/>
                      <a:r>
                        <a:rPr lang="en-GB" sz="1200" dirty="0"/>
                        <a:t>Senior Policy Manager (Education) at Public First</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486514759"/>
                  </a:ext>
                </a:extLst>
              </a:tr>
              <a:tr h="231621">
                <a:tc>
                  <a:txBody>
                    <a:bodyPr/>
                    <a:lstStyle/>
                    <a:p>
                      <a:pPr algn="l" fontAlgn="b"/>
                      <a:endParaRPr lang="en-GB" sz="1200" dirty="0"/>
                    </a:p>
                  </a:txBody>
                  <a:tcPr marL="8404" marR="8404" marT="8404" marB="40337" anchor="b">
                    <a:solidFill>
                      <a:schemeClr val="accent3">
                        <a:lumMod val="20000"/>
                        <a:lumOff val="80000"/>
                      </a:schemeClr>
                    </a:solidFill>
                  </a:tcPr>
                </a:tc>
                <a:tc>
                  <a:txBody>
                    <a:bodyPr/>
                    <a:lstStyle/>
                    <a:p>
                      <a:pPr algn="l" fontAlgn="b"/>
                      <a:endParaRPr lang="en-GB" sz="1200"/>
                    </a:p>
                  </a:txBody>
                  <a:tcPr marL="8404" marR="8404" marT="8404" marB="40337" anchor="b">
                    <a:solidFill>
                      <a:schemeClr val="accent3">
                        <a:lumMod val="20000"/>
                        <a:lumOff val="80000"/>
                      </a:schemeClr>
                    </a:solidFill>
                  </a:tcPr>
                </a:tc>
                <a:extLst>
                  <a:ext uri="{0D108BD9-81ED-4DB2-BD59-A6C34878D82A}">
                    <a16:rowId xmlns:a16="http://schemas.microsoft.com/office/drawing/2014/main" val="2280011403"/>
                  </a:ext>
                </a:extLst>
              </a:tr>
              <a:tr h="296687">
                <a:tc>
                  <a:txBody>
                    <a:bodyPr/>
                    <a:lstStyle/>
                    <a:p>
                      <a:pPr algn="l" fontAlgn="b"/>
                      <a:r>
                        <a:rPr lang="en-GB" sz="1200" b="1" dirty="0"/>
                        <a:t>Local Authority</a:t>
                      </a:r>
                    </a:p>
                  </a:txBody>
                  <a:tcPr marL="8404" marR="8404" marT="8404" marB="40337" anchor="b">
                    <a:solidFill>
                      <a:schemeClr val="accent3">
                        <a:lumMod val="20000"/>
                        <a:lumOff val="80000"/>
                      </a:schemeClr>
                    </a:solidFill>
                  </a:tcPr>
                </a:tc>
                <a:tc>
                  <a:txBody>
                    <a:bodyPr/>
                    <a:lstStyle/>
                    <a:p>
                      <a:pPr algn="l" fontAlgn="b"/>
                      <a:r>
                        <a:rPr lang="en-GB" sz="1200" dirty="0"/>
                        <a:t>National Management Trainee, London Borough of Havering  </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2407885897"/>
                  </a:ext>
                </a:extLst>
              </a:tr>
              <a:tr h="231621">
                <a:tc>
                  <a:txBody>
                    <a:bodyPr/>
                    <a:lstStyle/>
                    <a:p>
                      <a:pPr algn="l" fontAlgn="b"/>
                      <a:endParaRPr lang="en-GB" sz="1200" dirty="0"/>
                    </a:p>
                  </a:txBody>
                  <a:tcPr marL="8404" marR="8404" marT="8404" marB="40337" anchor="b">
                    <a:solidFill>
                      <a:schemeClr val="accent3">
                        <a:lumMod val="20000"/>
                        <a:lumOff val="80000"/>
                      </a:schemeClr>
                    </a:solidFill>
                  </a:tcPr>
                </a:tc>
                <a:tc>
                  <a:txBody>
                    <a:bodyPr/>
                    <a:lstStyle/>
                    <a:p>
                      <a:pPr algn="l" fontAlgn="b"/>
                      <a:endParaRPr lang="en-GB" sz="1200" dirty="0"/>
                    </a:p>
                  </a:txBody>
                  <a:tcPr marL="8404" marR="8404" marT="8404" marB="40337" anchor="b">
                    <a:solidFill>
                      <a:schemeClr val="accent3">
                        <a:lumMod val="20000"/>
                        <a:lumOff val="80000"/>
                      </a:schemeClr>
                    </a:solidFill>
                  </a:tcPr>
                </a:tc>
                <a:extLst>
                  <a:ext uri="{0D108BD9-81ED-4DB2-BD59-A6C34878D82A}">
                    <a16:rowId xmlns:a16="http://schemas.microsoft.com/office/drawing/2014/main" val="1598182286"/>
                  </a:ext>
                </a:extLst>
              </a:tr>
              <a:tr h="309917">
                <a:tc>
                  <a:txBody>
                    <a:bodyPr/>
                    <a:lstStyle/>
                    <a:p>
                      <a:pPr algn="l" fontAlgn="b"/>
                      <a:r>
                        <a:rPr lang="en-GB" sz="1200" b="1" dirty="0"/>
                        <a:t>Charity &amp; Campaigning</a:t>
                      </a:r>
                    </a:p>
                  </a:txBody>
                  <a:tcPr marL="8404" marR="8404" marT="8404" marB="40337" anchor="b">
                    <a:solidFill>
                      <a:schemeClr val="accent3">
                        <a:lumMod val="20000"/>
                        <a:lumOff val="80000"/>
                      </a:schemeClr>
                    </a:solidFill>
                  </a:tcPr>
                </a:tc>
                <a:tc>
                  <a:txBody>
                    <a:bodyPr/>
                    <a:lstStyle/>
                    <a:p>
                      <a:pPr algn="l" fontAlgn="b"/>
                      <a:r>
                        <a:rPr lang="en-GB" sz="1200" dirty="0"/>
                        <a:t>Youth campaigner at WWF UK</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3815497719"/>
                  </a:ext>
                </a:extLst>
              </a:tr>
              <a:tr h="231621">
                <a:tc>
                  <a:txBody>
                    <a:bodyPr/>
                    <a:lstStyle/>
                    <a:p>
                      <a:pPr algn="l" fontAlgn="b"/>
                      <a:endParaRPr lang="en-GB" sz="1200" dirty="0"/>
                    </a:p>
                  </a:txBody>
                  <a:tcPr marL="8404" marR="8404" marT="8404" marB="40337" anchor="b">
                    <a:solidFill>
                      <a:schemeClr val="accent3">
                        <a:lumMod val="20000"/>
                        <a:lumOff val="80000"/>
                      </a:schemeClr>
                    </a:solidFill>
                  </a:tcPr>
                </a:tc>
                <a:tc>
                  <a:txBody>
                    <a:bodyPr/>
                    <a:lstStyle/>
                    <a:p>
                      <a:pPr algn="l" fontAlgn="b"/>
                      <a:endParaRPr lang="en-GB" sz="1200" dirty="0"/>
                    </a:p>
                  </a:txBody>
                  <a:tcPr marL="8404" marR="8404" marT="8404" marB="40337" anchor="b">
                    <a:solidFill>
                      <a:schemeClr val="accent3">
                        <a:lumMod val="20000"/>
                        <a:lumOff val="80000"/>
                      </a:schemeClr>
                    </a:solidFill>
                  </a:tcPr>
                </a:tc>
                <a:extLst>
                  <a:ext uri="{0D108BD9-81ED-4DB2-BD59-A6C34878D82A}">
                    <a16:rowId xmlns:a16="http://schemas.microsoft.com/office/drawing/2014/main" val="2891067017"/>
                  </a:ext>
                </a:extLst>
              </a:tr>
              <a:tr h="414501">
                <a:tc>
                  <a:txBody>
                    <a:bodyPr/>
                    <a:lstStyle/>
                    <a:p>
                      <a:pPr algn="l" fontAlgn="b"/>
                      <a:r>
                        <a:rPr lang="en-GB" sz="1200" b="1" dirty="0"/>
                        <a:t>Public Affairs &amp; PR</a:t>
                      </a:r>
                    </a:p>
                  </a:txBody>
                  <a:tcPr marL="8404" marR="8404" marT="8404" marB="40337" anchor="b">
                    <a:solidFill>
                      <a:schemeClr val="accent3">
                        <a:lumMod val="20000"/>
                        <a:lumOff val="80000"/>
                      </a:schemeClr>
                    </a:solidFill>
                  </a:tcPr>
                </a:tc>
                <a:tc>
                  <a:txBody>
                    <a:bodyPr/>
                    <a:lstStyle/>
                    <a:p>
                      <a:pPr algn="l" fontAlgn="b"/>
                      <a:r>
                        <a:rPr lang="en-GB" sz="1200" dirty="0"/>
                        <a:t>Senior Account Executive at Connect Group (public affairs)</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3261896967"/>
                  </a:ext>
                </a:extLst>
              </a:tr>
              <a:tr h="259400">
                <a:tc>
                  <a:txBody>
                    <a:bodyPr/>
                    <a:lstStyle/>
                    <a:p>
                      <a:pPr algn="l" fontAlgn="b"/>
                      <a:endParaRPr lang="en-GB" sz="1200" dirty="0"/>
                    </a:p>
                  </a:txBody>
                  <a:tcPr marL="8404" marR="8404" marT="8404" marB="40337" anchor="b">
                    <a:solidFill>
                      <a:schemeClr val="accent3">
                        <a:lumMod val="20000"/>
                        <a:lumOff val="80000"/>
                      </a:schemeClr>
                    </a:solidFill>
                  </a:tcPr>
                </a:tc>
                <a:tc>
                  <a:txBody>
                    <a:bodyPr/>
                    <a:lstStyle/>
                    <a:p>
                      <a:pPr algn="l" fontAlgn="b"/>
                      <a:r>
                        <a:rPr lang="en-GB" sz="1200" dirty="0"/>
                        <a:t>Account Executive, Grayling &amp; freelance journalist</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2166205533"/>
                  </a:ext>
                </a:extLst>
              </a:tr>
              <a:tr h="231621">
                <a:tc>
                  <a:txBody>
                    <a:bodyPr/>
                    <a:lstStyle/>
                    <a:p>
                      <a:pPr algn="l" fontAlgn="b"/>
                      <a:endParaRPr lang="en-GB" sz="1200" dirty="0"/>
                    </a:p>
                  </a:txBody>
                  <a:tcPr marL="8404" marR="8404" marT="8404" marB="40337" anchor="b">
                    <a:solidFill>
                      <a:schemeClr val="accent3">
                        <a:lumMod val="20000"/>
                        <a:lumOff val="80000"/>
                      </a:schemeClr>
                    </a:solidFill>
                  </a:tcPr>
                </a:tc>
                <a:tc>
                  <a:txBody>
                    <a:bodyPr/>
                    <a:lstStyle/>
                    <a:p>
                      <a:pPr algn="l" fontAlgn="b"/>
                      <a:r>
                        <a:rPr lang="en-GB" sz="1200" dirty="0"/>
                        <a:t>Account Manager, public affairs consultancy</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40442237"/>
                  </a:ext>
                </a:extLst>
              </a:tr>
              <a:tr h="231621">
                <a:tc>
                  <a:txBody>
                    <a:bodyPr/>
                    <a:lstStyle/>
                    <a:p>
                      <a:pPr algn="l" fontAlgn="b"/>
                      <a:endParaRPr lang="en-GB" sz="1200" dirty="0"/>
                    </a:p>
                  </a:txBody>
                  <a:tcPr marL="8404" marR="8404" marT="8404" marB="40337" anchor="b">
                    <a:solidFill>
                      <a:schemeClr val="accent3">
                        <a:lumMod val="20000"/>
                        <a:lumOff val="80000"/>
                      </a:schemeClr>
                    </a:solidFill>
                  </a:tcPr>
                </a:tc>
                <a:tc>
                  <a:txBody>
                    <a:bodyPr/>
                    <a:lstStyle/>
                    <a:p>
                      <a:pPr algn="l" fontAlgn="b"/>
                      <a:endParaRPr lang="en-GB" sz="1200" dirty="0"/>
                    </a:p>
                  </a:txBody>
                  <a:tcPr marL="8404" marR="8404" marT="8404" marB="40337" anchor="b">
                    <a:solidFill>
                      <a:schemeClr val="accent3">
                        <a:lumMod val="20000"/>
                        <a:lumOff val="80000"/>
                      </a:schemeClr>
                    </a:solidFill>
                  </a:tcPr>
                </a:tc>
                <a:extLst>
                  <a:ext uri="{0D108BD9-81ED-4DB2-BD59-A6C34878D82A}">
                    <a16:rowId xmlns:a16="http://schemas.microsoft.com/office/drawing/2014/main" val="2986351603"/>
                  </a:ext>
                </a:extLst>
              </a:tr>
              <a:tr h="231621">
                <a:tc>
                  <a:txBody>
                    <a:bodyPr/>
                    <a:lstStyle/>
                    <a:p>
                      <a:pPr algn="l" fontAlgn="b"/>
                      <a:r>
                        <a:rPr lang="en-GB" sz="1200" b="1" dirty="0"/>
                        <a:t>Civil Service</a:t>
                      </a:r>
                    </a:p>
                  </a:txBody>
                  <a:tcPr marL="8404" marR="8404" marT="8404" marB="40337" anchor="b">
                    <a:solidFill>
                      <a:schemeClr val="accent3">
                        <a:lumMod val="20000"/>
                        <a:lumOff val="80000"/>
                      </a:schemeClr>
                    </a:solidFill>
                  </a:tcPr>
                </a:tc>
                <a:tc>
                  <a:txBody>
                    <a:bodyPr/>
                    <a:lstStyle/>
                    <a:p>
                      <a:pPr algn="l" fontAlgn="b"/>
                      <a:r>
                        <a:rPr lang="en-GB" sz="1200" dirty="0"/>
                        <a:t>Policy Advisor at Department for Transport</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2716598625"/>
                  </a:ext>
                </a:extLst>
              </a:tr>
              <a:tr h="231621">
                <a:tc>
                  <a:txBody>
                    <a:bodyPr/>
                    <a:lstStyle/>
                    <a:p>
                      <a:pPr algn="l" fontAlgn="b"/>
                      <a:endParaRPr lang="en-GB" sz="1200" dirty="0"/>
                    </a:p>
                  </a:txBody>
                  <a:tcPr marL="8404" marR="8404" marT="8404" marB="40337" anchor="b">
                    <a:solidFill>
                      <a:schemeClr val="accent3">
                        <a:lumMod val="20000"/>
                        <a:lumOff val="80000"/>
                      </a:schemeClr>
                    </a:solidFill>
                  </a:tcPr>
                </a:tc>
                <a:tc>
                  <a:txBody>
                    <a:bodyPr/>
                    <a:lstStyle/>
                    <a:p>
                      <a:pPr algn="l" fontAlgn="b"/>
                      <a:endParaRPr lang="en-GB" sz="1200" dirty="0"/>
                    </a:p>
                  </a:txBody>
                  <a:tcPr marL="8404" marR="8404" marT="8404" marB="40337" anchor="b">
                    <a:solidFill>
                      <a:schemeClr val="accent3">
                        <a:lumMod val="20000"/>
                        <a:lumOff val="80000"/>
                      </a:schemeClr>
                    </a:solidFill>
                  </a:tcPr>
                </a:tc>
                <a:extLst>
                  <a:ext uri="{0D108BD9-81ED-4DB2-BD59-A6C34878D82A}">
                    <a16:rowId xmlns:a16="http://schemas.microsoft.com/office/drawing/2014/main" val="34176493"/>
                  </a:ext>
                </a:extLst>
              </a:tr>
              <a:tr h="440677">
                <a:tc>
                  <a:txBody>
                    <a:bodyPr/>
                    <a:lstStyle/>
                    <a:p>
                      <a:pPr algn="l" fontAlgn="b"/>
                      <a:r>
                        <a:rPr lang="en-GB" sz="1200" b="1" dirty="0"/>
                        <a:t>International Development</a:t>
                      </a:r>
                    </a:p>
                  </a:txBody>
                  <a:tcPr marL="8404" marR="8404" marT="8404" marB="40337" anchor="b">
                    <a:solidFill>
                      <a:schemeClr val="accent3">
                        <a:lumMod val="20000"/>
                        <a:lumOff val="80000"/>
                      </a:schemeClr>
                    </a:solidFill>
                  </a:tcPr>
                </a:tc>
                <a:tc>
                  <a:txBody>
                    <a:bodyPr/>
                    <a:lstStyle/>
                    <a:p>
                      <a:pPr algn="l" fontAlgn="b"/>
                      <a:r>
                        <a:rPr lang="en-GB" sz="1200" dirty="0"/>
                        <a:t>Researcher/Advisor on Artificial Intelligence &amp; Human Rights at Amnesty International</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2603617634"/>
                  </a:ext>
                </a:extLst>
              </a:tr>
              <a:tr h="231621">
                <a:tc>
                  <a:txBody>
                    <a:bodyPr/>
                    <a:lstStyle/>
                    <a:p>
                      <a:pPr algn="l" fontAlgn="b"/>
                      <a:endParaRPr lang="en-GB" sz="1200" dirty="0"/>
                    </a:p>
                  </a:txBody>
                  <a:tcPr marL="8404" marR="8404" marT="8404" marB="40337" anchor="b">
                    <a:solidFill>
                      <a:schemeClr val="accent3">
                        <a:lumMod val="20000"/>
                        <a:lumOff val="80000"/>
                      </a:schemeClr>
                    </a:solidFill>
                  </a:tcPr>
                </a:tc>
                <a:tc>
                  <a:txBody>
                    <a:bodyPr/>
                    <a:lstStyle/>
                    <a:p>
                      <a:pPr algn="l" fontAlgn="b"/>
                      <a:endParaRPr lang="en-GB" sz="1200" dirty="0"/>
                    </a:p>
                  </a:txBody>
                  <a:tcPr marL="8404" marR="8404" marT="8404" marB="40337" anchor="b">
                    <a:solidFill>
                      <a:schemeClr val="accent3">
                        <a:lumMod val="20000"/>
                        <a:lumOff val="80000"/>
                      </a:schemeClr>
                    </a:solidFill>
                  </a:tcPr>
                </a:tc>
                <a:extLst>
                  <a:ext uri="{0D108BD9-81ED-4DB2-BD59-A6C34878D82A}">
                    <a16:rowId xmlns:a16="http://schemas.microsoft.com/office/drawing/2014/main" val="4090892098"/>
                  </a:ext>
                </a:extLst>
              </a:tr>
              <a:tr h="231621">
                <a:tc>
                  <a:txBody>
                    <a:bodyPr/>
                    <a:lstStyle/>
                    <a:p>
                      <a:pPr algn="l" fontAlgn="b"/>
                      <a:r>
                        <a:rPr lang="en-GB" sz="1200" b="1" dirty="0"/>
                        <a:t>Journalism/ Media</a:t>
                      </a:r>
                    </a:p>
                  </a:txBody>
                  <a:tcPr marL="8404" marR="8404" marT="8404" marB="40337" anchor="b">
                    <a:solidFill>
                      <a:schemeClr val="accent3">
                        <a:lumMod val="20000"/>
                        <a:lumOff val="80000"/>
                      </a:schemeClr>
                    </a:solidFill>
                  </a:tcPr>
                </a:tc>
                <a:tc>
                  <a:txBody>
                    <a:bodyPr/>
                    <a:lstStyle/>
                    <a:p>
                      <a:pPr algn="l" fontAlgn="b"/>
                      <a:r>
                        <a:rPr lang="en-GB" sz="1200" dirty="0"/>
                        <a:t>Brand Writer at Monzo Bank</a:t>
                      </a:r>
                    </a:p>
                  </a:txBody>
                  <a:tcPr marL="8404" marR="8404" marT="8404" marB="40337" anchor="b">
                    <a:solidFill>
                      <a:schemeClr val="accent3">
                        <a:lumMod val="20000"/>
                        <a:lumOff val="80000"/>
                      </a:schemeClr>
                    </a:solidFill>
                  </a:tcPr>
                </a:tc>
                <a:extLst>
                  <a:ext uri="{0D108BD9-81ED-4DB2-BD59-A6C34878D82A}">
                    <a16:rowId xmlns:a16="http://schemas.microsoft.com/office/drawing/2014/main" val="3200058098"/>
                  </a:ext>
                </a:extLst>
              </a:tr>
            </a:tbl>
          </a:graphicData>
        </a:graphic>
      </p:graphicFrame>
      <p:sp>
        <p:nvSpPr>
          <p:cNvPr id="4" name="TextBox 3">
            <a:extLst>
              <a:ext uri="{FF2B5EF4-FFF2-40B4-BE49-F238E27FC236}">
                <a16:creationId xmlns:a16="http://schemas.microsoft.com/office/drawing/2014/main" id="{C2EE5D4C-2BAA-19D4-6C44-CE8EAA371B65}"/>
              </a:ext>
            </a:extLst>
          </p:cNvPr>
          <p:cNvSpPr txBox="1"/>
          <p:nvPr/>
        </p:nvSpPr>
        <p:spPr>
          <a:xfrm>
            <a:off x="3809465" y="5284945"/>
            <a:ext cx="1793291" cy="461665"/>
          </a:xfrm>
          <a:prstGeom prst="rect">
            <a:avLst/>
          </a:prstGeom>
          <a:noFill/>
        </p:spPr>
        <p:txBody>
          <a:bodyPr wrap="square">
            <a:spAutoFit/>
          </a:bodyPr>
          <a:lstStyle/>
          <a:p>
            <a:r>
              <a:rPr lang="en-GB" sz="800" dirty="0">
                <a:hlinkClick r:id="rId3"/>
              </a:rPr>
              <a:t>https://qmul.targetconnect.net/leap/event.html?id=13596&amp;service=Careers%20Service</a:t>
            </a:r>
            <a:r>
              <a:rPr lang="en-GB" sz="800" dirty="0"/>
              <a:t> </a:t>
            </a:r>
          </a:p>
        </p:txBody>
      </p:sp>
      <p:pic>
        <p:nvPicPr>
          <p:cNvPr id="6" name="Picture 5" descr="A qr code on a white background&#10;&#10;Description automatically generated">
            <a:extLst>
              <a:ext uri="{FF2B5EF4-FFF2-40B4-BE49-F238E27FC236}">
                <a16:creationId xmlns:a16="http://schemas.microsoft.com/office/drawing/2014/main" id="{6874A123-BAEF-54B0-03C8-3E8953C3AC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09466" y="3456885"/>
            <a:ext cx="1828060" cy="1828060"/>
          </a:xfrm>
          <a:prstGeom prst="rect">
            <a:avLst/>
          </a:prstGeom>
        </p:spPr>
      </p:pic>
      <p:sp>
        <p:nvSpPr>
          <p:cNvPr id="7" name="TextBox 6">
            <a:extLst>
              <a:ext uri="{FF2B5EF4-FFF2-40B4-BE49-F238E27FC236}">
                <a16:creationId xmlns:a16="http://schemas.microsoft.com/office/drawing/2014/main" id="{A984B998-0AF5-8431-38AB-4150BA3AF371}"/>
              </a:ext>
            </a:extLst>
          </p:cNvPr>
          <p:cNvSpPr txBox="1"/>
          <p:nvPr/>
        </p:nvSpPr>
        <p:spPr>
          <a:xfrm>
            <a:off x="3809466" y="3136956"/>
            <a:ext cx="1793290" cy="369332"/>
          </a:xfrm>
          <a:prstGeom prst="rect">
            <a:avLst/>
          </a:prstGeom>
          <a:noFill/>
        </p:spPr>
        <p:txBody>
          <a:bodyPr wrap="square" rtlCol="0">
            <a:spAutoFit/>
          </a:bodyPr>
          <a:lstStyle/>
          <a:p>
            <a:pPr algn="ctr"/>
            <a:r>
              <a:rPr lang="en-GB" sz="1400" dirty="0">
                <a:solidFill>
                  <a:srgbClr val="EC008C"/>
                </a:solidFill>
              </a:rPr>
              <a:t>Register</a:t>
            </a:r>
            <a:r>
              <a:rPr lang="en-GB" dirty="0">
                <a:solidFill>
                  <a:srgbClr val="EC008C"/>
                </a:solidFill>
              </a:rPr>
              <a:t> </a:t>
            </a:r>
            <a:r>
              <a:rPr lang="en-GB" sz="1400" dirty="0">
                <a:solidFill>
                  <a:srgbClr val="EC008C"/>
                </a:solidFill>
              </a:rPr>
              <a:t>here:</a:t>
            </a:r>
            <a:endParaRPr lang="en-GB" dirty="0">
              <a:solidFill>
                <a:srgbClr val="EC008C"/>
              </a:solidFill>
            </a:endParaRPr>
          </a:p>
        </p:txBody>
      </p:sp>
      <p:pic>
        <p:nvPicPr>
          <p:cNvPr id="1026" name="Picture 2">
            <a:extLst>
              <a:ext uri="{FF2B5EF4-FFF2-40B4-BE49-F238E27FC236}">
                <a16:creationId xmlns:a16="http://schemas.microsoft.com/office/drawing/2014/main" id="{2AB6AFDC-A96C-1EEA-D995-9B8C6E0B27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49" y="3429000"/>
            <a:ext cx="3332386" cy="249842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0823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5DCDDFC-6745-472C-B47E-006C3CF4A653}"/>
              </a:ext>
            </a:extLst>
          </p:cNvPr>
          <p:cNvSpPr txBox="1"/>
          <p:nvPr/>
        </p:nvSpPr>
        <p:spPr>
          <a:xfrm>
            <a:off x="3898231" y="2803357"/>
            <a:ext cx="580608" cy="707886"/>
          </a:xfrm>
          <a:prstGeom prst="rect">
            <a:avLst/>
          </a:prstGeom>
          <a:noFill/>
        </p:spPr>
        <p:txBody>
          <a:bodyPr wrap="none" rtlCol="0">
            <a:spAutoFit/>
          </a:bodyPr>
          <a:lstStyle/>
          <a:p>
            <a:r>
              <a:rPr lang="en-US" sz="4000" dirty="0"/>
              <a:t>M</a:t>
            </a:r>
          </a:p>
        </p:txBody>
      </p:sp>
      <p:sp>
        <p:nvSpPr>
          <p:cNvPr id="3" name="TextBox 2">
            <a:extLst>
              <a:ext uri="{FF2B5EF4-FFF2-40B4-BE49-F238E27FC236}">
                <a16:creationId xmlns:a16="http://schemas.microsoft.com/office/drawing/2014/main" id="{04A77574-26FF-EE5A-4A7C-D9A5CA0561FE}"/>
              </a:ext>
            </a:extLst>
          </p:cNvPr>
          <p:cNvSpPr txBox="1"/>
          <p:nvPr/>
        </p:nvSpPr>
        <p:spPr>
          <a:xfrm flipH="1">
            <a:off x="7277469" y="2803357"/>
            <a:ext cx="1962802" cy="707886"/>
          </a:xfrm>
          <a:prstGeom prst="rect">
            <a:avLst/>
          </a:prstGeom>
          <a:noFill/>
        </p:spPr>
        <p:txBody>
          <a:bodyPr wrap="square" rtlCol="0">
            <a:spAutoFit/>
          </a:bodyPr>
          <a:lstStyle/>
          <a:p>
            <a:r>
              <a:rPr lang="en-US" sz="4000" dirty="0"/>
              <a:t>F</a:t>
            </a:r>
          </a:p>
        </p:txBody>
      </p:sp>
      <p:sp>
        <p:nvSpPr>
          <p:cNvPr id="4" name="TextBox 3">
            <a:extLst>
              <a:ext uri="{FF2B5EF4-FFF2-40B4-BE49-F238E27FC236}">
                <a16:creationId xmlns:a16="http://schemas.microsoft.com/office/drawing/2014/main" id="{E1AA5FD8-C3B2-7877-3517-D9C1CE09813F}"/>
              </a:ext>
            </a:extLst>
          </p:cNvPr>
          <p:cNvSpPr txBox="1"/>
          <p:nvPr/>
        </p:nvSpPr>
        <p:spPr>
          <a:xfrm>
            <a:off x="6427257" y="6143446"/>
            <a:ext cx="5626027" cy="923330"/>
          </a:xfrm>
          <a:prstGeom prst="rect">
            <a:avLst/>
          </a:prstGeom>
          <a:noFill/>
        </p:spPr>
        <p:txBody>
          <a:bodyPr wrap="none" rtlCol="0">
            <a:spAutoFit/>
          </a:bodyPr>
          <a:lstStyle/>
          <a:p>
            <a:r>
              <a:rPr lang="en-US" dirty="0"/>
              <a:t>R.W. Connell (2001) </a:t>
            </a:r>
            <a:r>
              <a:rPr lang="en-US" i="1" dirty="0"/>
              <a:t>The Social </a:t>
            </a:r>
            <a:r>
              <a:rPr lang="en-US" i="1" dirty="0" err="1"/>
              <a:t>Organisation</a:t>
            </a:r>
            <a:r>
              <a:rPr lang="en-US" i="1" dirty="0"/>
              <a:t> of Masculinity</a:t>
            </a:r>
          </a:p>
          <a:p>
            <a:r>
              <a:rPr lang="en-US" dirty="0"/>
              <a:t>R.W. Connell (2006) </a:t>
            </a:r>
            <a:r>
              <a:rPr lang="en-US" i="1" dirty="0"/>
              <a:t>The History of Masculinity</a:t>
            </a:r>
          </a:p>
          <a:p>
            <a:endParaRPr lang="en-US" dirty="0"/>
          </a:p>
        </p:txBody>
      </p:sp>
      <p:sp>
        <p:nvSpPr>
          <p:cNvPr id="9" name="Right Arrow 8">
            <a:extLst>
              <a:ext uri="{FF2B5EF4-FFF2-40B4-BE49-F238E27FC236}">
                <a16:creationId xmlns:a16="http://schemas.microsoft.com/office/drawing/2014/main" id="{54EBE37A-8914-08C3-F97D-077A98407297}"/>
              </a:ext>
            </a:extLst>
          </p:cNvPr>
          <p:cNvSpPr/>
          <p:nvPr/>
        </p:nvSpPr>
        <p:spPr>
          <a:xfrm>
            <a:off x="5013960" y="3017520"/>
            <a:ext cx="1844040" cy="4114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p14="http://schemas.microsoft.com/office/powerpoint/2010/main">
        <mc:Choice Requires="p14">
          <p:contentPart p14:bwMode="auto" r:id="rId2">
            <p14:nvContentPartPr>
              <p14:cNvPr id="15" name="Ink 14">
                <a:extLst>
                  <a:ext uri="{FF2B5EF4-FFF2-40B4-BE49-F238E27FC236}">
                    <a16:creationId xmlns:a16="http://schemas.microsoft.com/office/drawing/2014/main" id="{CFD94625-8841-8BA3-5F2B-277D4ACA804D}"/>
                  </a:ext>
                </a:extLst>
              </p14:cNvPr>
              <p14:cNvContentPartPr/>
              <p14:nvPr/>
            </p14:nvContentPartPr>
            <p14:xfrm>
              <a:off x="3613200" y="2762640"/>
              <a:ext cx="1087920" cy="1252080"/>
            </p14:xfrm>
          </p:contentPart>
        </mc:Choice>
        <mc:Fallback xmlns="">
          <p:pic>
            <p:nvPicPr>
              <p:cNvPr id="15" name="Ink 14">
                <a:extLst>
                  <a:ext uri="{FF2B5EF4-FFF2-40B4-BE49-F238E27FC236}">
                    <a16:creationId xmlns:a16="http://schemas.microsoft.com/office/drawing/2014/main" id="{CFD94625-8841-8BA3-5F2B-277D4ACA804D}"/>
                  </a:ext>
                </a:extLst>
              </p:cNvPr>
              <p:cNvPicPr/>
              <p:nvPr/>
            </p:nvPicPr>
            <p:blipFill>
              <a:blip r:embed="rId3"/>
              <a:stretch>
                <a:fillRect/>
              </a:stretch>
            </p:blipFill>
            <p:spPr>
              <a:xfrm>
                <a:off x="3582600" y="2732040"/>
                <a:ext cx="1149480" cy="131328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21" name="Ink 20">
                <a:extLst>
                  <a:ext uri="{FF2B5EF4-FFF2-40B4-BE49-F238E27FC236}">
                    <a16:creationId xmlns:a16="http://schemas.microsoft.com/office/drawing/2014/main" id="{F0465B33-8165-9247-28F5-C4EEDD43453E}"/>
                  </a:ext>
                </a:extLst>
              </p14:cNvPr>
              <p14:cNvContentPartPr/>
              <p14:nvPr/>
            </p14:nvContentPartPr>
            <p14:xfrm>
              <a:off x="6737280" y="2816640"/>
              <a:ext cx="1155960" cy="1419480"/>
            </p14:xfrm>
          </p:contentPart>
        </mc:Choice>
        <mc:Fallback xmlns="">
          <p:pic>
            <p:nvPicPr>
              <p:cNvPr id="21" name="Ink 20">
                <a:extLst>
                  <a:ext uri="{FF2B5EF4-FFF2-40B4-BE49-F238E27FC236}">
                    <a16:creationId xmlns:a16="http://schemas.microsoft.com/office/drawing/2014/main" id="{F0465B33-8165-9247-28F5-C4EEDD43453E}"/>
                  </a:ext>
                </a:extLst>
              </p:cNvPr>
              <p:cNvPicPr/>
              <p:nvPr/>
            </p:nvPicPr>
            <p:blipFill>
              <a:blip r:embed="rId5"/>
              <a:stretch>
                <a:fillRect/>
              </a:stretch>
            </p:blipFill>
            <p:spPr>
              <a:xfrm>
                <a:off x="6706680" y="2786040"/>
                <a:ext cx="1217160" cy="1480680"/>
              </a:xfrm>
              <a:prstGeom prst="rect">
                <a:avLst/>
              </a:prstGeom>
            </p:spPr>
          </p:pic>
        </mc:Fallback>
      </mc:AlternateContent>
      <p:sp>
        <p:nvSpPr>
          <p:cNvPr id="22" name="TextBox 21">
            <a:extLst>
              <a:ext uri="{FF2B5EF4-FFF2-40B4-BE49-F238E27FC236}">
                <a16:creationId xmlns:a16="http://schemas.microsoft.com/office/drawing/2014/main" id="{66EFF32D-2B7B-8457-FB38-6D3E904B7E1C}"/>
              </a:ext>
            </a:extLst>
          </p:cNvPr>
          <p:cNvSpPr txBox="1"/>
          <p:nvPr/>
        </p:nvSpPr>
        <p:spPr>
          <a:xfrm>
            <a:off x="8034842" y="432197"/>
            <a:ext cx="3781778" cy="2585323"/>
          </a:xfrm>
          <a:prstGeom prst="rect">
            <a:avLst/>
          </a:prstGeom>
          <a:noFill/>
        </p:spPr>
        <p:txBody>
          <a:bodyPr wrap="square" rtlCol="0">
            <a:spAutoFit/>
          </a:bodyPr>
          <a:lstStyle/>
          <a:p>
            <a:r>
              <a:rPr lang="en-US" dirty="0"/>
              <a:t>The unitary subject of feminism</a:t>
            </a:r>
          </a:p>
          <a:p>
            <a:r>
              <a:rPr lang="en-US" dirty="0"/>
              <a:t>is troubled: “</a:t>
            </a:r>
            <a:r>
              <a:rPr lang="en-US" i="1" dirty="0"/>
              <a:t>there is very little agreement after all on what it is that constitutes, or ought to constitute, the category of women</a:t>
            </a:r>
            <a:r>
              <a:rPr lang="en-US" dirty="0"/>
              <a:t>.” (Butler 1990, 4)</a:t>
            </a:r>
          </a:p>
          <a:p>
            <a:pPr marL="285750" indent="-285750">
              <a:buFont typeface="Wingdings" pitchFamily="2" charset="2"/>
              <a:buChar char="Ø"/>
            </a:pPr>
            <a:r>
              <a:rPr lang="en-US" dirty="0"/>
              <a:t>	Contributions of Black feminists,</a:t>
            </a:r>
          </a:p>
          <a:p>
            <a:r>
              <a:rPr lang="en-US" dirty="0"/>
              <a:t>	Third World feminists, Queer </a:t>
            </a:r>
          </a:p>
          <a:p>
            <a:r>
              <a:rPr lang="en-US" dirty="0"/>
              <a:t>	feminists and many others </a:t>
            </a:r>
          </a:p>
          <a:p>
            <a:endParaRPr lang="en-US" dirty="0"/>
          </a:p>
        </p:txBody>
      </p:sp>
      <p:sp>
        <p:nvSpPr>
          <p:cNvPr id="23" name="TextBox 22">
            <a:extLst>
              <a:ext uri="{FF2B5EF4-FFF2-40B4-BE49-F238E27FC236}">
                <a16:creationId xmlns:a16="http://schemas.microsoft.com/office/drawing/2014/main" id="{E30BD9C3-B55A-A7BF-7750-1B559B808586}"/>
              </a:ext>
            </a:extLst>
          </p:cNvPr>
          <p:cNvSpPr txBox="1"/>
          <p:nvPr/>
        </p:nvSpPr>
        <p:spPr>
          <a:xfrm>
            <a:off x="990600" y="4389120"/>
            <a:ext cx="4663407" cy="1754326"/>
          </a:xfrm>
          <a:prstGeom prst="rect">
            <a:avLst/>
          </a:prstGeom>
          <a:noFill/>
        </p:spPr>
        <p:txBody>
          <a:bodyPr wrap="square" rtlCol="0">
            <a:spAutoFit/>
          </a:bodyPr>
          <a:lstStyle/>
          <a:p>
            <a:pPr algn="ctr"/>
            <a:r>
              <a:rPr lang="en-US" dirty="0"/>
              <a:t>Always more than one kind of masculinity (never fixed) in relations of:</a:t>
            </a:r>
          </a:p>
          <a:p>
            <a:pPr algn="ctr"/>
            <a:r>
              <a:rPr lang="en-US" dirty="0"/>
              <a:t>Hegemony, Subordination, Complicity and </a:t>
            </a:r>
            <a:r>
              <a:rPr lang="en-US" dirty="0" err="1"/>
              <a:t>Marginalisation</a:t>
            </a:r>
            <a:endParaRPr lang="en-US" dirty="0"/>
          </a:p>
          <a:p>
            <a:pPr algn="ctr"/>
            <a:r>
              <a:rPr lang="en-US" dirty="0"/>
              <a:t>(R. W. Connell 2001, 2006)</a:t>
            </a:r>
          </a:p>
          <a:p>
            <a:pPr algn="ctr"/>
            <a:endParaRPr lang="en-US" dirty="0"/>
          </a:p>
        </p:txBody>
      </p:sp>
      <p:sp>
        <p:nvSpPr>
          <p:cNvPr id="24" name="Rounded Rectangle 23">
            <a:extLst>
              <a:ext uri="{FF2B5EF4-FFF2-40B4-BE49-F238E27FC236}">
                <a16:creationId xmlns:a16="http://schemas.microsoft.com/office/drawing/2014/main" id="{17D0F79F-A653-71D6-19A7-B6365928F3E6}"/>
              </a:ext>
            </a:extLst>
          </p:cNvPr>
          <p:cNvSpPr/>
          <p:nvPr/>
        </p:nvSpPr>
        <p:spPr>
          <a:xfrm>
            <a:off x="226961" y="169426"/>
            <a:ext cx="4333464" cy="19659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sculinity and femininity should be understood as gender projects</a:t>
            </a:r>
          </a:p>
          <a:p>
            <a:pPr algn="ctr"/>
            <a:r>
              <a:rPr lang="en-US" dirty="0"/>
              <a:t>Sites of gender configuration:</a:t>
            </a:r>
          </a:p>
          <a:p>
            <a:pPr marL="285750" indent="-285750" algn="ctr">
              <a:buFont typeface="Arial" panose="020B0604020202020204" pitchFamily="34" charset="0"/>
              <a:buChar char="•"/>
            </a:pPr>
            <a:r>
              <a:rPr lang="en-US" dirty="0"/>
              <a:t>Individual identity (his/her/their)</a:t>
            </a:r>
          </a:p>
          <a:p>
            <a:pPr marL="285750" indent="-285750" algn="ctr">
              <a:buFont typeface="Arial" panose="020B0604020202020204" pitchFamily="34" charset="0"/>
              <a:buChar char="•"/>
            </a:pPr>
            <a:r>
              <a:rPr lang="en-US" dirty="0"/>
              <a:t>Discourse, ideology and culture</a:t>
            </a:r>
          </a:p>
          <a:p>
            <a:pPr marL="285750" indent="-285750" algn="ctr">
              <a:buFont typeface="Arial" panose="020B0604020202020204" pitchFamily="34" charset="0"/>
              <a:buChar char="•"/>
            </a:pPr>
            <a:r>
              <a:rPr lang="en-US" dirty="0"/>
              <a:t>Institutions (state, workplace and school)</a:t>
            </a:r>
          </a:p>
        </p:txBody>
      </p:sp>
      <p:sp>
        <p:nvSpPr>
          <p:cNvPr id="25" name="Rounded Rectangle 24">
            <a:extLst>
              <a:ext uri="{FF2B5EF4-FFF2-40B4-BE49-F238E27FC236}">
                <a16:creationId xmlns:a16="http://schemas.microsoft.com/office/drawing/2014/main" id="{9E3DAB82-AE3E-36E5-E729-5437E9058128}"/>
              </a:ext>
            </a:extLst>
          </p:cNvPr>
          <p:cNvSpPr/>
          <p:nvPr/>
        </p:nvSpPr>
        <p:spPr>
          <a:xfrm>
            <a:off x="7377327" y="3657600"/>
            <a:ext cx="4563549" cy="22088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T! Almost all feminists share one assumption: “one theory is better than many; […] that reality must come fully into line with, be engulfed by, theory; that theory will tell us all the crucial things we need to know about moral value and emancipation. </a:t>
            </a:r>
            <a:r>
              <a:rPr lang="en-US" b="1" dirty="0"/>
              <a:t>I’ll call this the prescriptive deployment of theory</a:t>
            </a:r>
            <a:r>
              <a:rPr lang="en-US" dirty="0"/>
              <a:t>.” </a:t>
            </a:r>
          </a:p>
          <a:p>
            <a:pPr algn="ctr"/>
            <a:r>
              <a:rPr lang="en-US" dirty="0"/>
              <a:t>(Halley 2006)</a:t>
            </a:r>
          </a:p>
        </p:txBody>
      </p:sp>
      <p:sp>
        <p:nvSpPr>
          <p:cNvPr id="26" name="TextBox 25">
            <a:extLst>
              <a:ext uri="{FF2B5EF4-FFF2-40B4-BE49-F238E27FC236}">
                <a16:creationId xmlns:a16="http://schemas.microsoft.com/office/drawing/2014/main" id="{D7202E54-3668-A5B7-C91F-ACDE3A5FB694}"/>
              </a:ext>
            </a:extLst>
          </p:cNvPr>
          <p:cNvSpPr txBox="1"/>
          <p:nvPr/>
        </p:nvSpPr>
        <p:spPr>
          <a:xfrm>
            <a:off x="4956133" y="2618691"/>
            <a:ext cx="1844041" cy="369332"/>
          </a:xfrm>
          <a:prstGeom prst="rect">
            <a:avLst/>
          </a:prstGeom>
          <a:noFill/>
        </p:spPr>
        <p:txBody>
          <a:bodyPr wrap="square" rtlCol="0">
            <a:spAutoFit/>
          </a:bodyPr>
          <a:lstStyle/>
          <a:p>
            <a:pPr algn="ctr"/>
            <a:r>
              <a:rPr lang="en-US" dirty="0"/>
              <a:t>oppresses</a:t>
            </a:r>
          </a:p>
        </p:txBody>
      </p:sp>
    </p:spTree>
    <p:extLst>
      <p:ext uri="{BB962C8B-B14F-4D97-AF65-F5344CB8AC3E}">
        <p14:creationId xmlns:p14="http://schemas.microsoft.com/office/powerpoint/2010/main" val="26390686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0A4F5B76-A2C8-248E-D8C8-38D7F274ABB3}"/>
              </a:ext>
            </a:extLst>
          </p:cNvPr>
          <p:cNvSpPr/>
          <p:nvPr/>
        </p:nvSpPr>
        <p:spPr>
          <a:xfrm>
            <a:off x="1402080" y="841983"/>
            <a:ext cx="9604409" cy="55620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val 4">
            <a:extLst>
              <a:ext uri="{FF2B5EF4-FFF2-40B4-BE49-F238E27FC236}">
                <a16:creationId xmlns:a16="http://schemas.microsoft.com/office/drawing/2014/main" id="{5F929EFF-C105-D5D1-D715-4711771AA1F7}"/>
              </a:ext>
            </a:extLst>
          </p:cNvPr>
          <p:cNvSpPr/>
          <p:nvPr/>
        </p:nvSpPr>
        <p:spPr>
          <a:xfrm>
            <a:off x="3261360" y="1661160"/>
            <a:ext cx="5867400" cy="3718560"/>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0" dirty="0">
                <a:solidFill>
                  <a:schemeClr val="tx1"/>
                </a:solidFill>
              </a:rPr>
              <a:t>M             F    </a:t>
            </a:r>
          </a:p>
        </p:txBody>
      </p:sp>
      <p:sp>
        <p:nvSpPr>
          <p:cNvPr id="6" name="Right Arrow 5">
            <a:extLst>
              <a:ext uri="{FF2B5EF4-FFF2-40B4-BE49-F238E27FC236}">
                <a16:creationId xmlns:a16="http://schemas.microsoft.com/office/drawing/2014/main" id="{13324E2F-22EE-78FC-44FB-96E43838EA3E}"/>
              </a:ext>
            </a:extLst>
          </p:cNvPr>
          <p:cNvSpPr/>
          <p:nvPr/>
        </p:nvSpPr>
        <p:spPr>
          <a:xfrm>
            <a:off x="5647478" y="3357585"/>
            <a:ext cx="1264920" cy="350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3D54A955-CB2A-C987-1D79-9169EA41F404}"/>
              </a:ext>
            </a:extLst>
          </p:cNvPr>
          <p:cNvSpPr txBox="1"/>
          <p:nvPr/>
        </p:nvSpPr>
        <p:spPr>
          <a:xfrm>
            <a:off x="4038600" y="2484120"/>
            <a:ext cx="362600" cy="369332"/>
          </a:xfrm>
          <a:prstGeom prst="rect">
            <a:avLst/>
          </a:prstGeom>
          <a:noFill/>
        </p:spPr>
        <p:txBody>
          <a:bodyPr wrap="none" rtlCol="0">
            <a:spAutoFit/>
          </a:bodyPr>
          <a:lstStyle/>
          <a:p>
            <a:r>
              <a:rPr lang="en-US" dirty="0"/>
              <a:t>M</a:t>
            </a:r>
          </a:p>
        </p:txBody>
      </p:sp>
      <p:sp>
        <p:nvSpPr>
          <p:cNvPr id="10" name="TextBox 9">
            <a:extLst>
              <a:ext uri="{FF2B5EF4-FFF2-40B4-BE49-F238E27FC236}">
                <a16:creationId xmlns:a16="http://schemas.microsoft.com/office/drawing/2014/main" id="{1D2BA06C-A540-9AC0-A9E9-76A880197119}"/>
              </a:ext>
            </a:extLst>
          </p:cNvPr>
          <p:cNvSpPr txBox="1"/>
          <p:nvPr/>
        </p:nvSpPr>
        <p:spPr>
          <a:xfrm>
            <a:off x="7741920" y="4312920"/>
            <a:ext cx="362600" cy="369332"/>
          </a:xfrm>
          <a:prstGeom prst="rect">
            <a:avLst/>
          </a:prstGeom>
          <a:noFill/>
        </p:spPr>
        <p:txBody>
          <a:bodyPr wrap="none" rtlCol="0">
            <a:spAutoFit/>
          </a:bodyPr>
          <a:lstStyle/>
          <a:p>
            <a:r>
              <a:rPr lang="en-US" dirty="0"/>
              <a:t>M</a:t>
            </a:r>
          </a:p>
        </p:txBody>
      </p:sp>
      <p:sp>
        <p:nvSpPr>
          <p:cNvPr id="11" name="TextBox 10">
            <a:extLst>
              <a:ext uri="{FF2B5EF4-FFF2-40B4-BE49-F238E27FC236}">
                <a16:creationId xmlns:a16="http://schemas.microsoft.com/office/drawing/2014/main" id="{73909C1F-ABE8-5B8F-31B5-33ADB477DE2C}"/>
              </a:ext>
            </a:extLst>
          </p:cNvPr>
          <p:cNvSpPr txBox="1"/>
          <p:nvPr/>
        </p:nvSpPr>
        <p:spPr>
          <a:xfrm>
            <a:off x="6797040" y="1935480"/>
            <a:ext cx="362600" cy="369332"/>
          </a:xfrm>
          <a:prstGeom prst="rect">
            <a:avLst/>
          </a:prstGeom>
          <a:noFill/>
        </p:spPr>
        <p:txBody>
          <a:bodyPr wrap="none" rtlCol="0">
            <a:spAutoFit/>
          </a:bodyPr>
          <a:lstStyle/>
          <a:p>
            <a:r>
              <a:rPr lang="en-US" dirty="0"/>
              <a:t>M</a:t>
            </a:r>
          </a:p>
        </p:txBody>
      </p:sp>
      <p:sp>
        <p:nvSpPr>
          <p:cNvPr id="12" name="TextBox 11">
            <a:extLst>
              <a:ext uri="{FF2B5EF4-FFF2-40B4-BE49-F238E27FC236}">
                <a16:creationId xmlns:a16="http://schemas.microsoft.com/office/drawing/2014/main" id="{56D52037-42EF-E99F-CA4C-E01A66739564}"/>
              </a:ext>
            </a:extLst>
          </p:cNvPr>
          <p:cNvSpPr txBox="1"/>
          <p:nvPr/>
        </p:nvSpPr>
        <p:spPr>
          <a:xfrm>
            <a:off x="5273040" y="4497586"/>
            <a:ext cx="362600" cy="369332"/>
          </a:xfrm>
          <a:prstGeom prst="rect">
            <a:avLst/>
          </a:prstGeom>
          <a:noFill/>
        </p:spPr>
        <p:txBody>
          <a:bodyPr wrap="none" rtlCol="0">
            <a:spAutoFit/>
          </a:bodyPr>
          <a:lstStyle/>
          <a:p>
            <a:r>
              <a:rPr lang="en-US" dirty="0"/>
              <a:t>M</a:t>
            </a:r>
          </a:p>
        </p:txBody>
      </p:sp>
      <p:sp>
        <p:nvSpPr>
          <p:cNvPr id="13" name="TextBox 12">
            <a:extLst>
              <a:ext uri="{FF2B5EF4-FFF2-40B4-BE49-F238E27FC236}">
                <a16:creationId xmlns:a16="http://schemas.microsoft.com/office/drawing/2014/main" id="{E5B0B01E-546B-B4B3-9D19-F9A2E44D255E}"/>
              </a:ext>
            </a:extLst>
          </p:cNvPr>
          <p:cNvSpPr txBox="1"/>
          <p:nvPr/>
        </p:nvSpPr>
        <p:spPr>
          <a:xfrm>
            <a:off x="5635640" y="2078638"/>
            <a:ext cx="285656" cy="369332"/>
          </a:xfrm>
          <a:prstGeom prst="rect">
            <a:avLst/>
          </a:prstGeom>
          <a:noFill/>
        </p:spPr>
        <p:txBody>
          <a:bodyPr wrap="none" rtlCol="0">
            <a:spAutoFit/>
          </a:bodyPr>
          <a:lstStyle/>
          <a:p>
            <a:r>
              <a:rPr lang="en-US" dirty="0"/>
              <a:t>F</a:t>
            </a:r>
          </a:p>
        </p:txBody>
      </p:sp>
      <p:sp>
        <p:nvSpPr>
          <p:cNvPr id="15" name="TextBox 14">
            <a:extLst>
              <a:ext uri="{FF2B5EF4-FFF2-40B4-BE49-F238E27FC236}">
                <a16:creationId xmlns:a16="http://schemas.microsoft.com/office/drawing/2014/main" id="{11336FDF-C500-4890-86EB-AA3F8D095F88}"/>
              </a:ext>
            </a:extLst>
          </p:cNvPr>
          <p:cNvSpPr txBox="1"/>
          <p:nvPr/>
        </p:nvSpPr>
        <p:spPr>
          <a:xfrm>
            <a:off x="8412480" y="3647553"/>
            <a:ext cx="285656" cy="369332"/>
          </a:xfrm>
          <a:prstGeom prst="rect">
            <a:avLst/>
          </a:prstGeom>
          <a:noFill/>
        </p:spPr>
        <p:txBody>
          <a:bodyPr wrap="none" rtlCol="0">
            <a:spAutoFit/>
          </a:bodyPr>
          <a:lstStyle/>
          <a:p>
            <a:r>
              <a:rPr lang="en-US" dirty="0"/>
              <a:t>F</a:t>
            </a:r>
          </a:p>
        </p:txBody>
      </p:sp>
      <p:sp>
        <p:nvSpPr>
          <p:cNvPr id="16" name="TextBox 15">
            <a:extLst>
              <a:ext uri="{FF2B5EF4-FFF2-40B4-BE49-F238E27FC236}">
                <a16:creationId xmlns:a16="http://schemas.microsoft.com/office/drawing/2014/main" id="{0D33B0BA-8DAF-5494-761F-59A74DD714DD}"/>
              </a:ext>
            </a:extLst>
          </p:cNvPr>
          <p:cNvSpPr txBox="1"/>
          <p:nvPr/>
        </p:nvSpPr>
        <p:spPr>
          <a:xfrm>
            <a:off x="3779520" y="3822813"/>
            <a:ext cx="285656" cy="369332"/>
          </a:xfrm>
          <a:prstGeom prst="rect">
            <a:avLst/>
          </a:prstGeom>
          <a:noFill/>
        </p:spPr>
        <p:txBody>
          <a:bodyPr wrap="none" rtlCol="0">
            <a:spAutoFit/>
          </a:bodyPr>
          <a:lstStyle/>
          <a:p>
            <a:r>
              <a:rPr lang="en-US" dirty="0"/>
              <a:t>F</a:t>
            </a:r>
          </a:p>
        </p:txBody>
      </p:sp>
      <p:sp>
        <p:nvSpPr>
          <p:cNvPr id="17" name="TextBox 16">
            <a:extLst>
              <a:ext uri="{FF2B5EF4-FFF2-40B4-BE49-F238E27FC236}">
                <a16:creationId xmlns:a16="http://schemas.microsoft.com/office/drawing/2014/main" id="{EA7754D1-74B1-F591-61C6-66980C56492B}"/>
              </a:ext>
            </a:extLst>
          </p:cNvPr>
          <p:cNvSpPr txBox="1"/>
          <p:nvPr/>
        </p:nvSpPr>
        <p:spPr>
          <a:xfrm>
            <a:off x="6583680" y="4497586"/>
            <a:ext cx="285656" cy="369332"/>
          </a:xfrm>
          <a:prstGeom prst="rect">
            <a:avLst/>
          </a:prstGeom>
          <a:noFill/>
        </p:spPr>
        <p:txBody>
          <a:bodyPr wrap="none" rtlCol="0">
            <a:spAutoFit/>
          </a:bodyPr>
          <a:lstStyle/>
          <a:p>
            <a:r>
              <a:rPr lang="en-US" dirty="0"/>
              <a:t>F</a:t>
            </a:r>
          </a:p>
        </p:txBody>
      </p:sp>
      <p:sp>
        <p:nvSpPr>
          <p:cNvPr id="18" name="TextBox 17">
            <a:extLst>
              <a:ext uri="{FF2B5EF4-FFF2-40B4-BE49-F238E27FC236}">
                <a16:creationId xmlns:a16="http://schemas.microsoft.com/office/drawing/2014/main" id="{9FD44357-02CB-C1A3-0A4F-8DEBC3DFE6A5}"/>
              </a:ext>
            </a:extLst>
          </p:cNvPr>
          <p:cNvSpPr txBox="1"/>
          <p:nvPr/>
        </p:nvSpPr>
        <p:spPr>
          <a:xfrm>
            <a:off x="7741920" y="2447970"/>
            <a:ext cx="285656" cy="369332"/>
          </a:xfrm>
          <a:prstGeom prst="rect">
            <a:avLst/>
          </a:prstGeom>
          <a:noFill/>
        </p:spPr>
        <p:txBody>
          <a:bodyPr wrap="none" rtlCol="0">
            <a:spAutoFit/>
          </a:bodyPr>
          <a:lstStyle/>
          <a:p>
            <a:r>
              <a:rPr lang="en-US" dirty="0"/>
              <a:t>F</a:t>
            </a:r>
          </a:p>
        </p:txBody>
      </p:sp>
      <p:sp>
        <p:nvSpPr>
          <p:cNvPr id="19" name="TextBox 18">
            <a:extLst>
              <a:ext uri="{FF2B5EF4-FFF2-40B4-BE49-F238E27FC236}">
                <a16:creationId xmlns:a16="http://schemas.microsoft.com/office/drawing/2014/main" id="{93CAE724-7117-59F8-465A-04EFC1CB7A4D}"/>
              </a:ext>
            </a:extLst>
          </p:cNvPr>
          <p:cNvSpPr txBox="1"/>
          <p:nvPr/>
        </p:nvSpPr>
        <p:spPr>
          <a:xfrm>
            <a:off x="5715000" y="5044440"/>
            <a:ext cx="938077" cy="369332"/>
          </a:xfrm>
          <a:prstGeom prst="rect">
            <a:avLst/>
          </a:prstGeom>
          <a:noFill/>
        </p:spPr>
        <p:txBody>
          <a:bodyPr wrap="none" rtlCol="0">
            <a:spAutoFit/>
          </a:bodyPr>
          <a:lstStyle/>
          <a:p>
            <a:r>
              <a:rPr lang="en-US" dirty="0"/>
              <a:t>KINSHIP</a:t>
            </a:r>
          </a:p>
        </p:txBody>
      </p:sp>
      <p:sp>
        <p:nvSpPr>
          <p:cNvPr id="20" name="TextBox 19">
            <a:extLst>
              <a:ext uri="{FF2B5EF4-FFF2-40B4-BE49-F238E27FC236}">
                <a16:creationId xmlns:a16="http://schemas.microsoft.com/office/drawing/2014/main" id="{B03AD4FF-4388-570E-7ED3-79A2A059158C}"/>
              </a:ext>
            </a:extLst>
          </p:cNvPr>
          <p:cNvSpPr txBox="1"/>
          <p:nvPr/>
        </p:nvSpPr>
        <p:spPr>
          <a:xfrm>
            <a:off x="4662428" y="6091701"/>
            <a:ext cx="3065263" cy="646331"/>
          </a:xfrm>
          <a:prstGeom prst="rect">
            <a:avLst/>
          </a:prstGeom>
          <a:noFill/>
        </p:spPr>
        <p:txBody>
          <a:bodyPr wrap="none" rtlCol="0">
            <a:spAutoFit/>
          </a:bodyPr>
          <a:lstStyle/>
          <a:p>
            <a:pPr algn="ctr"/>
            <a:r>
              <a:rPr lang="en-US" dirty="0"/>
              <a:t>STATE / NATION</a:t>
            </a:r>
          </a:p>
          <a:p>
            <a:pPr algn="ctr"/>
            <a:r>
              <a:rPr lang="en-US" dirty="0"/>
              <a:t>= RIGHTS AND RECOGNITION</a:t>
            </a:r>
          </a:p>
        </p:txBody>
      </p:sp>
      <p:sp>
        <p:nvSpPr>
          <p:cNvPr id="21" name="TextBox 20">
            <a:extLst>
              <a:ext uri="{FF2B5EF4-FFF2-40B4-BE49-F238E27FC236}">
                <a16:creationId xmlns:a16="http://schemas.microsoft.com/office/drawing/2014/main" id="{B9BFB9DF-22B0-7438-CF31-EF62C2CC45AE}"/>
              </a:ext>
            </a:extLst>
          </p:cNvPr>
          <p:cNvSpPr txBox="1"/>
          <p:nvPr/>
        </p:nvSpPr>
        <p:spPr>
          <a:xfrm>
            <a:off x="8839200" y="697574"/>
            <a:ext cx="2383345" cy="369332"/>
          </a:xfrm>
          <a:prstGeom prst="rect">
            <a:avLst/>
          </a:prstGeom>
          <a:noFill/>
        </p:spPr>
        <p:txBody>
          <a:bodyPr wrap="none" rtlCol="0">
            <a:spAutoFit/>
          </a:bodyPr>
          <a:lstStyle/>
          <a:p>
            <a:r>
              <a:rPr lang="en-US" dirty="0"/>
              <a:t>EMPIRE / COLONIALITY</a:t>
            </a:r>
          </a:p>
        </p:txBody>
      </p:sp>
      <p:sp>
        <p:nvSpPr>
          <p:cNvPr id="22" name="TextBox 21">
            <a:extLst>
              <a:ext uri="{FF2B5EF4-FFF2-40B4-BE49-F238E27FC236}">
                <a16:creationId xmlns:a16="http://schemas.microsoft.com/office/drawing/2014/main" id="{BF0CCB3C-E32E-8BEE-AFFD-503AAFC8D2B9}"/>
              </a:ext>
            </a:extLst>
          </p:cNvPr>
          <p:cNvSpPr txBox="1"/>
          <p:nvPr/>
        </p:nvSpPr>
        <p:spPr>
          <a:xfrm>
            <a:off x="2328840" y="2299454"/>
            <a:ext cx="362600" cy="369332"/>
          </a:xfrm>
          <a:prstGeom prst="rect">
            <a:avLst/>
          </a:prstGeom>
          <a:noFill/>
        </p:spPr>
        <p:txBody>
          <a:bodyPr wrap="none" rtlCol="0">
            <a:spAutoFit/>
          </a:bodyPr>
          <a:lstStyle/>
          <a:p>
            <a:r>
              <a:rPr lang="en-US" dirty="0"/>
              <a:t>M</a:t>
            </a:r>
          </a:p>
        </p:txBody>
      </p:sp>
      <p:sp>
        <p:nvSpPr>
          <p:cNvPr id="23" name="TextBox 22">
            <a:extLst>
              <a:ext uri="{FF2B5EF4-FFF2-40B4-BE49-F238E27FC236}">
                <a16:creationId xmlns:a16="http://schemas.microsoft.com/office/drawing/2014/main" id="{6B6A2139-F7A7-A6F3-3C21-DE4BE97AC4B3}"/>
              </a:ext>
            </a:extLst>
          </p:cNvPr>
          <p:cNvSpPr txBox="1"/>
          <p:nvPr/>
        </p:nvSpPr>
        <p:spPr>
          <a:xfrm>
            <a:off x="9820044" y="4493702"/>
            <a:ext cx="362600" cy="369332"/>
          </a:xfrm>
          <a:prstGeom prst="rect">
            <a:avLst/>
          </a:prstGeom>
          <a:noFill/>
        </p:spPr>
        <p:txBody>
          <a:bodyPr wrap="none" rtlCol="0">
            <a:spAutoFit/>
          </a:bodyPr>
          <a:lstStyle/>
          <a:p>
            <a:r>
              <a:rPr lang="en-US" dirty="0"/>
              <a:t>M</a:t>
            </a:r>
          </a:p>
        </p:txBody>
      </p:sp>
      <p:sp>
        <p:nvSpPr>
          <p:cNvPr id="24" name="TextBox 23">
            <a:extLst>
              <a:ext uri="{FF2B5EF4-FFF2-40B4-BE49-F238E27FC236}">
                <a16:creationId xmlns:a16="http://schemas.microsoft.com/office/drawing/2014/main" id="{C420178C-E7E6-5AE7-D790-1BD2060FFCFE}"/>
              </a:ext>
            </a:extLst>
          </p:cNvPr>
          <p:cNvSpPr txBox="1"/>
          <p:nvPr/>
        </p:nvSpPr>
        <p:spPr>
          <a:xfrm>
            <a:off x="7159640" y="767999"/>
            <a:ext cx="362600" cy="369332"/>
          </a:xfrm>
          <a:prstGeom prst="rect">
            <a:avLst/>
          </a:prstGeom>
          <a:noFill/>
        </p:spPr>
        <p:txBody>
          <a:bodyPr wrap="none" rtlCol="0">
            <a:spAutoFit/>
          </a:bodyPr>
          <a:lstStyle/>
          <a:p>
            <a:r>
              <a:rPr lang="en-US" dirty="0"/>
              <a:t>M</a:t>
            </a:r>
          </a:p>
        </p:txBody>
      </p:sp>
      <p:sp>
        <p:nvSpPr>
          <p:cNvPr id="25" name="TextBox 24">
            <a:extLst>
              <a:ext uri="{FF2B5EF4-FFF2-40B4-BE49-F238E27FC236}">
                <a16:creationId xmlns:a16="http://schemas.microsoft.com/office/drawing/2014/main" id="{8BDE72A1-7110-33AE-8409-1F976938ED29}"/>
              </a:ext>
            </a:extLst>
          </p:cNvPr>
          <p:cNvSpPr txBox="1"/>
          <p:nvPr/>
        </p:nvSpPr>
        <p:spPr>
          <a:xfrm>
            <a:off x="782143" y="5788841"/>
            <a:ext cx="984565" cy="369332"/>
          </a:xfrm>
          <a:prstGeom prst="rect">
            <a:avLst/>
          </a:prstGeom>
          <a:noFill/>
        </p:spPr>
        <p:txBody>
          <a:bodyPr wrap="none" rtlCol="0">
            <a:spAutoFit/>
          </a:bodyPr>
          <a:lstStyle/>
          <a:p>
            <a:r>
              <a:rPr lang="en-US" dirty="0"/>
              <a:t>ABJECTS</a:t>
            </a:r>
          </a:p>
        </p:txBody>
      </p:sp>
      <p:sp>
        <p:nvSpPr>
          <p:cNvPr id="26" name="TextBox 25">
            <a:extLst>
              <a:ext uri="{FF2B5EF4-FFF2-40B4-BE49-F238E27FC236}">
                <a16:creationId xmlns:a16="http://schemas.microsoft.com/office/drawing/2014/main" id="{D9EC1D39-C658-9E85-CEBA-4C2A83CA15F8}"/>
              </a:ext>
            </a:extLst>
          </p:cNvPr>
          <p:cNvSpPr txBox="1"/>
          <p:nvPr/>
        </p:nvSpPr>
        <p:spPr>
          <a:xfrm>
            <a:off x="9262016" y="2273690"/>
            <a:ext cx="285656" cy="369332"/>
          </a:xfrm>
          <a:prstGeom prst="rect">
            <a:avLst/>
          </a:prstGeom>
          <a:noFill/>
        </p:spPr>
        <p:txBody>
          <a:bodyPr wrap="none" rtlCol="0">
            <a:spAutoFit/>
          </a:bodyPr>
          <a:lstStyle/>
          <a:p>
            <a:r>
              <a:rPr lang="en-US" dirty="0"/>
              <a:t>F</a:t>
            </a:r>
          </a:p>
        </p:txBody>
      </p:sp>
      <p:sp>
        <p:nvSpPr>
          <p:cNvPr id="27" name="TextBox 26">
            <a:extLst>
              <a:ext uri="{FF2B5EF4-FFF2-40B4-BE49-F238E27FC236}">
                <a16:creationId xmlns:a16="http://schemas.microsoft.com/office/drawing/2014/main" id="{64DBAB55-D525-2090-50A5-0F93C1FFCFFA}"/>
              </a:ext>
            </a:extLst>
          </p:cNvPr>
          <p:cNvSpPr txBox="1"/>
          <p:nvPr/>
        </p:nvSpPr>
        <p:spPr>
          <a:xfrm>
            <a:off x="2691440" y="5413772"/>
            <a:ext cx="285656" cy="369332"/>
          </a:xfrm>
          <a:prstGeom prst="rect">
            <a:avLst/>
          </a:prstGeom>
          <a:noFill/>
        </p:spPr>
        <p:txBody>
          <a:bodyPr wrap="none" rtlCol="0">
            <a:spAutoFit/>
          </a:bodyPr>
          <a:lstStyle/>
          <a:p>
            <a:r>
              <a:rPr lang="en-US" dirty="0"/>
              <a:t>F</a:t>
            </a:r>
          </a:p>
        </p:txBody>
      </p:sp>
      <p:sp>
        <p:nvSpPr>
          <p:cNvPr id="28" name="TextBox 27">
            <a:extLst>
              <a:ext uri="{FF2B5EF4-FFF2-40B4-BE49-F238E27FC236}">
                <a16:creationId xmlns:a16="http://schemas.microsoft.com/office/drawing/2014/main" id="{2C78D706-9482-773A-9341-A5C3D082EF4D}"/>
              </a:ext>
            </a:extLst>
          </p:cNvPr>
          <p:cNvSpPr txBox="1"/>
          <p:nvPr/>
        </p:nvSpPr>
        <p:spPr>
          <a:xfrm>
            <a:off x="2237120" y="4055149"/>
            <a:ext cx="285656" cy="369332"/>
          </a:xfrm>
          <a:prstGeom prst="rect">
            <a:avLst/>
          </a:prstGeom>
          <a:noFill/>
        </p:spPr>
        <p:txBody>
          <a:bodyPr wrap="none" rtlCol="0">
            <a:spAutoFit/>
          </a:bodyPr>
          <a:lstStyle/>
          <a:p>
            <a:r>
              <a:rPr lang="en-US" dirty="0"/>
              <a:t>F</a:t>
            </a:r>
          </a:p>
        </p:txBody>
      </p:sp>
      <p:sp>
        <p:nvSpPr>
          <p:cNvPr id="29" name="TextBox 28">
            <a:extLst>
              <a:ext uri="{FF2B5EF4-FFF2-40B4-BE49-F238E27FC236}">
                <a16:creationId xmlns:a16="http://schemas.microsoft.com/office/drawing/2014/main" id="{5F2CDE89-37E9-E931-2908-A0C5F9BD94DE}"/>
              </a:ext>
            </a:extLst>
          </p:cNvPr>
          <p:cNvSpPr txBox="1"/>
          <p:nvPr/>
        </p:nvSpPr>
        <p:spPr>
          <a:xfrm>
            <a:off x="4115544" y="1398620"/>
            <a:ext cx="285656" cy="369332"/>
          </a:xfrm>
          <a:prstGeom prst="rect">
            <a:avLst/>
          </a:prstGeom>
          <a:noFill/>
        </p:spPr>
        <p:txBody>
          <a:bodyPr wrap="none" rtlCol="0">
            <a:spAutoFit/>
          </a:bodyPr>
          <a:lstStyle/>
          <a:p>
            <a:r>
              <a:rPr lang="en-US" dirty="0"/>
              <a:t>F</a:t>
            </a:r>
          </a:p>
        </p:txBody>
      </p:sp>
      <p:sp>
        <p:nvSpPr>
          <p:cNvPr id="30" name="TextBox 29">
            <a:extLst>
              <a:ext uri="{FF2B5EF4-FFF2-40B4-BE49-F238E27FC236}">
                <a16:creationId xmlns:a16="http://schemas.microsoft.com/office/drawing/2014/main" id="{0408DDB2-3D03-D116-85FD-67A99B8A1A9A}"/>
              </a:ext>
            </a:extLst>
          </p:cNvPr>
          <p:cNvSpPr txBox="1"/>
          <p:nvPr/>
        </p:nvSpPr>
        <p:spPr>
          <a:xfrm>
            <a:off x="7518988" y="5195054"/>
            <a:ext cx="362600" cy="369332"/>
          </a:xfrm>
          <a:prstGeom prst="rect">
            <a:avLst/>
          </a:prstGeom>
          <a:noFill/>
        </p:spPr>
        <p:txBody>
          <a:bodyPr wrap="none" rtlCol="0">
            <a:spAutoFit/>
          </a:bodyPr>
          <a:lstStyle/>
          <a:p>
            <a:r>
              <a:rPr lang="en-US" dirty="0"/>
              <a:t>M</a:t>
            </a:r>
          </a:p>
        </p:txBody>
      </p:sp>
    </p:spTree>
    <p:extLst>
      <p:ext uri="{BB962C8B-B14F-4D97-AF65-F5344CB8AC3E}">
        <p14:creationId xmlns:p14="http://schemas.microsoft.com/office/powerpoint/2010/main" val="2690326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47824A-0BC0-377B-4932-796AED5955CB}"/>
              </a:ext>
            </a:extLst>
          </p:cNvPr>
          <p:cNvSpPr>
            <a:spLocks noGrp="1"/>
          </p:cNvSpPr>
          <p:nvPr>
            <p:ph type="title"/>
          </p:nvPr>
        </p:nvSpPr>
        <p:spPr/>
        <p:txBody>
          <a:bodyPr/>
          <a:lstStyle/>
          <a:p>
            <a:r>
              <a:rPr lang="en-US" dirty="0"/>
              <a:t>To </a:t>
            </a:r>
            <a:r>
              <a:rPr lang="en-US" dirty="0" err="1"/>
              <a:t>summarise</a:t>
            </a:r>
            <a:endParaRPr lang="en-US" dirty="0"/>
          </a:p>
        </p:txBody>
      </p:sp>
      <p:sp>
        <p:nvSpPr>
          <p:cNvPr id="3" name="Content Placeholder 2">
            <a:extLst>
              <a:ext uri="{FF2B5EF4-FFF2-40B4-BE49-F238E27FC236}">
                <a16:creationId xmlns:a16="http://schemas.microsoft.com/office/drawing/2014/main" id="{A3FF28A1-94EC-741C-6627-A0F2716F8FB0}"/>
              </a:ext>
            </a:extLst>
          </p:cNvPr>
          <p:cNvSpPr>
            <a:spLocks noGrp="1"/>
          </p:cNvSpPr>
          <p:nvPr>
            <p:ph idx="1"/>
          </p:nvPr>
        </p:nvSpPr>
        <p:spPr>
          <a:xfrm>
            <a:off x="999744" y="2303640"/>
            <a:ext cx="10192512" cy="4374952"/>
          </a:xfrm>
        </p:spPr>
        <p:txBody>
          <a:bodyPr>
            <a:normAutofit/>
          </a:bodyPr>
          <a:lstStyle/>
          <a:p>
            <a:r>
              <a:rPr lang="en-US" dirty="0"/>
              <a:t>                           Categorical (knowledge production)             - Exceeded      </a:t>
            </a:r>
          </a:p>
          <a:p>
            <a:r>
              <a:rPr lang="en-US" dirty="0"/>
              <a:t>Boundaries                                                                            - In movement</a:t>
            </a:r>
          </a:p>
          <a:p>
            <a:r>
              <a:rPr lang="en-US" dirty="0"/>
              <a:t>                           Political                                                     - Secured</a:t>
            </a:r>
          </a:p>
          <a:p>
            <a:endParaRPr lang="en-US" dirty="0"/>
          </a:p>
          <a:p>
            <a:r>
              <a:rPr lang="en-US" dirty="0"/>
              <a:t> →  underlying relations of power and relations of production</a:t>
            </a:r>
          </a:p>
          <a:p>
            <a:r>
              <a:rPr lang="en-US" dirty="0"/>
              <a:t> →  but, also, the cathexis: practices that shape and realize desires          </a:t>
            </a:r>
          </a:p>
          <a:p>
            <a:r>
              <a:rPr lang="en-US" dirty="0"/>
              <a:t>Sustained, emotionally-charged critique of feminism, its single-axis frameworks and its reliance on dualisms/dichotomies</a:t>
            </a:r>
          </a:p>
          <a:p>
            <a:r>
              <a:rPr lang="en-US" dirty="0"/>
              <a:t>A nuanced, multi-disciplinary analysis of social, cultural and economic structures</a:t>
            </a:r>
          </a:p>
        </p:txBody>
      </p:sp>
      <p:grpSp>
        <p:nvGrpSpPr>
          <p:cNvPr id="13" name="Group 12">
            <a:extLst>
              <a:ext uri="{FF2B5EF4-FFF2-40B4-BE49-F238E27FC236}">
                <a16:creationId xmlns:a16="http://schemas.microsoft.com/office/drawing/2014/main" id="{2C8EFF32-F227-DDCF-5FE9-88252DE453B8}"/>
              </a:ext>
            </a:extLst>
          </p:cNvPr>
          <p:cNvGrpSpPr/>
          <p:nvPr/>
        </p:nvGrpSpPr>
        <p:grpSpPr>
          <a:xfrm>
            <a:off x="2491440" y="2495520"/>
            <a:ext cx="408600" cy="833400"/>
            <a:chOff x="2491440" y="2495520"/>
            <a:chExt cx="408600" cy="833400"/>
          </a:xfrm>
        </p:grpSpPr>
        <mc:AlternateContent xmlns:mc="http://schemas.openxmlformats.org/markup-compatibility/2006" xmlns:p14="http://schemas.microsoft.com/office/powerpoint/2010/main">
          <mc:Choice Requires="p14">
            <p:contentPart p14:bwMode="auto" r:id="rId2">
              <p14:nvContentPartPr>
                <p14:cNvPr id="11" name="Ink 10">
                  <a:extLst>
                    <a:ext uri="{FF2B5EF4-FFF2-40B4-BE49-F238E27FC236}">
                      <a16:creationId xmlns:a16="http://schemas.microsoft.com/office/drawing/2014/main" id="{E40F47A2-A4FC-1CA0-B61E-8D2F512925B2}"/>
                    </a:ext>
                  </a:extLst>
                </p14:cNvPr>
                <p14:cNvContentPartPr/>
                <p14:nvPr/>
              </p14:nvContentPartPr>
              <p14:xfrm>
                <a:off x="2491440" y="2495520"/>
                <a:ext cx="408600" cy="327240"/>
              </p14:xfrm>
            </p:contentPart>
          </mc:Choice>
          <mc:Fallback xmlns="">
            <p:pic>
              <p:nvPicPr>
                <p:cNvPr id="11" name="Ink 10">
                  <a:extLst>
                    <a:ext uri="{FF2B5EF4-FFF2-40B4-BE49-F238E27FC236}">
                      <a16:creationId xmlns:a16="http://schemas.microsoft.com/office/drawing/2014/main" id="{E40F47A2-A4FC-1CA0-B61E-8D2F512925B2}"/>
                    </a:ext>
                  </a:extLst>
                </p:cNvPr>
                <p:cNvPicPr/>
                <p:nvPr/>
              </p:nvPicPr>
              <p:blipFill>
                <a:blip r:embed="rId3"/>
                <a:stretch>
                  <a:fillRect/>
                </a:stretch>
              </p:blipFill>
              <p:spPr>
                <a:xfrm>
                  <a:off x="2473800" y="2477520"/>
                  <a:ext cx="444240" cy="36288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12" name="Ink 11">
                  <a:extLst>
                    <a:ext uri="{FF2B5EF4-FFF2-40B4-BE49-F238E27FC236}">
                      <a16:creationId xmlns:a16="http://schemas.microsoft.com/office/drawing/2014/main" id="{3D4D0BD9-B018-3A66-8A7A-DD964459CB9F}"/>
                    </a:ext>
                  </a:extLst>
                </p14:cNvPr>
                <p14:cNvContentPartPr/>
                <p14:nvPr/>
              </p14:nvContentPartPr>
              <p14:xfrm>
                <a:off x="2491440" y="2961720"/>
                <a:ext cx="377640" cy="367200"/>
              </p14:xfrm>
            </p:contentPart>
          </mc:Choice>
          <mc:Fallback xmlns="">
            <p:pic>
              <p:nvPicPr>
                <p:cNvPr id="12" name="Ink 11">
                  <a:extLst>
                    <a:ext uri="{FF2B5EF4-FFF2-40B4-BE49-F238E27FC236}">
                      <a16:creationId xmlns:a16="http://schemas.microsoft.com/office/drawing/2014/main" id="{3D4D0BD9-B018-3A66-8A7A-DD964459CB9F}"/>
                    </a:ext>
                  </a:extLst>
                </p:cNvPr>
                <p:cNvPicPr/>
                <p:nvPr/>
              </p:nvPicPr>
              <p:blipFill>
                <a:blip r:embed="rId5"/>
                <a:stretch>
                  <a:fillRect/>
                </a:stretch>
              </p:blipFill>
              <p:spPr>
                <a:xfrm>
                  <a:off x="2473800" y="2944080"/>
                  <a:ext cx="413280" cy="402840"/>
                </a:xfrm>
                <a:prstGeom prst="rect">
                  <a:avLst/>
                </a:prstGeom>
              </p:spPr>
            </p:pic>
          </mc:Fallback>
        </mc:AlternateContent>
      </p:grpSp>
      <p:grpSp>
        <p:nvGrpSpPr>
          <p:cNvPr id="18" name="Group 17">
            <a:extLst>
              <a:ext uri="{FF2B5EF4-FFF2-40B4-BE49-F238E27FC236}">
                <a16:creationId xmlns:a16="http://schemas.microsoft.com/office/drawing/2014/main" id="{7489B773-037B-2BB4-1920-F75C7330166E}"/>
              </a:ext>
            </a:extLst>
          </p:cNvPr>
          <p:cNvGrpSpPr/>
          <p:nvPr/>
        </p:nvGrpSpPr>
        <p:grpSpPr>
          <a:xfrm>
            <a:off x="7092240" y="2252340"/>
            <a:ext cx="446040" cy="1418760"/>
            <a:chOff x="6772200" y="2135520"/>
            <a:chExt cx="446040" cy="1418760"/>
          </a:xfrm>
        </p:grpSpPr>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38429C70-2A0A-B98F-0A9D-491AE268A7CE}"/>
                    </a:ext>
                  </a:extLst>
                </p14:cNvPr>
                <p14:cNvContentPartPr/>
                <p14:nvPr/>
              </p14:nvContentPartPr>
              <p14:xfrm>
                <a:off x="6772200" y="2135520"/>
                <a:ext cx="446040" cy="1364040"/>
              </p14:xfrm>
            </p:contentPart>
          </mc:Choice>
          <mc:Fallback xmlns="">
            <p:pic>
              <p:nvPicPr>
                <p:cNvPr id="15" name="Ink 14">
                  <a:extLst>
                    <a:ext uri="{FF2B5EF4-FFF2-40B4-BE49-F238E27FC236}">
                      <a16:creationId xmlns:a16="http://schemas.microsoft.com/office/drawing/2014/main" id="{38429C70-2A0A-B98F-0A9D-491AE268A7CE}"/>
                    </a:ext>
                  </a:extLst>
                </p:cNvPr>
                <p:cNvPicPr/>
                <p:nvPr/>
              </p:nvPicPr>
              <p:blipFill>
                <a:blip r:embed="rId7"/>
                <a:stretch>
                  <a:fillRect/>
                </a:stretch>
              </p:blipFill>
              <p:spPr>
                <a:xfrm>
                  <a:off x="6754200" y="2117520"/>
                  <a:ext cx="481680" cy="13996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Ink 15">
                  <a:extLst>
                    <a:ext uri="{FF2B5EF4-FFF2-40B4-BE49-F238E27FC236}">
                      <a16:creationId xmlns:a16="http://schemas.microsoft.com/office/drawing/2014/main" id="{733599F0-DEF8-CFA8-8AA7-A4A5D8160A77}"/>
                    </a:ext>
                  </a:extLst>
                </p14:cNvPr>
                <p14:cNvContentPartPr/>
                <p14:nvPr/>
              </p14:nvContentPartPr>
              <p14:xfrm>
                <a:off x="7115280" y="3499200"/>
                <a:ext cx="360" cy="360"/>
              </p14:xfrm>
            </p:contentPart>
          </mc:Choice>
          <mc:Fallback xmlns="">
            <p:pic>
              <p:nvPicPr>
                <p:cNvPr id="16" name="Ink 15">
                  <a:extLst>
                    <a:ext uri="{FF2B5EF4-FFF2-40B4-BE49-F238E27FC236}">
                      <a16:creationId xmlns:a16="http://schemas.microsoft.com/office/drawing/2014/main" id="{733599F0-DEF8-CFA8-8AA7-A4A5D8160A77}"/>
                    </a:ext>
                  </a:extLst>
                </p:cNvPr>
                <p:cNvPicPr/>
                <p:nvPr/>
              </p:nvPicPr>
              <p:blipFill>
                <a:blip r:embed="rId9"/>
                <a:stretch>
                  <a:fillRect/>
                </a:stretch>
              </p:blipFill>
              <p:spPr>
                <a:xfrm>
                  <a:off x="7097640" y="3481560"/>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Ink 16">
                  <a:extLst>
                    <a:ext uri="{FF2B5EF4-FFF2-40B4-BE49-F238E27FC236}">
                      <a16:creationId xmlns:a16="http://schemas.microsoft.com/office/drawing/2014/main" id="{293719D3-4C7E-F145-892E-5913CE8A9655}"/>
                    </a:ext>
                  </a:extLst>
                </p14:cNvPr>
                <p14:cNvContentPartPr/>
                <p14:nvPr/>
              </p14:nvContentPartPr>
              <p14:xfrm>
                <a:off x="6819720" y="3499200"/>
                <a:ext cx="296280" cy="55080"/>
              </p14:xfrm>
            </p:contentPart>
          </mc:Choice>
          <mc:Fallback xmlns="">
            <p:pic>
              <p:nvPicPr>
                <p:cNvPr id="17" name="Ink 16">
                  <a:extLst>
                    <a:ext uri="{FF2B5EF4-FFF2-40B4-BE49-F238E27FC236}">
                      <a16:creationId xmlns:a16="http://schemas.microsoft.com/office/drawing/2014/main" id="{293719D3-4C7E-F145-892E-5913CE8A9655}"/>
                    </a:ext>
                  </a:extLst>
                </p:cNvPr>
                <p:cNvPicPr/>
                <p:nvPr/>
              </p:nvPicPr>
              <p:blipFill>
                <a:blip r:embed="rId11"/>
                <a:stretch>
                  <a:fillRect/>
                </a:stretch>
              </p:blipFill>
              <p:spPr>
                <a:xfrm>
                  <a:off x="6801720" y="3481560"/>
                  <a:ext cx="331920" cy="90720"/>
                </a:xfrm>
                <a:prstGeom prst="rect">
                  <a:avLst/>
                </a:prstGeom>
              </p:spPr>
            </p:pic>
          </mc:Fallback>
        </mc:AlternateContent>
      </p:grpSp>
    </p:spTree>
    <p:extLst>
      <p:ext uri="{BB962C8B-B14F-4D97-AF65-F5344CB8AC3E}">
        <p14:creationId xmlns:p14="http://schemas.microsoft.com/office/powerpoint/2010/main" val="28251760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09556B-EAE9-4435-B409-0519F2CBDB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552267"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F12CCB-4D1C-2A9B-1CB9-86E0080C6664}"/>
              </a:ext>
            </a:extLst>
          </p:cNvPr>
          <p:cNvSpPr>
            <a:spLocks noGrp="1"/>
          </p:cNvSpPr>
          <p:nvPr>
            <p:ph type="title"/>
          </p:nvPr>
        </p:nvSpPr>
        <p:spPr>
          <a:xfrm>
            <a:off x="1024128" y="585216"/>
            <a:ext cx="6007027" cy="1499616"/>
          </a:xfrm>
        </p:spPr>
        <p:txBody>
          <a:bodyPr>
            <a:normAutofit/>
          </a:bodyPr>
          <a:lstStyle/>
          <a:p>
            <a:r>
              <a:rPr lang="en-US">
                <a:solidFill>
                  <a:srgbClr val="FFFFFF"/>
                </a:solidFill>
              </a:rPr>
              <a:t>Hegemonic masculinity</a:t>
            </a:r>
          </a:p>
        </p:txBody>
      </p:sp>
      <p:cxnSp>
        <p:nvCxnSpPr>
          <p:cNvPr id="14" name="Straight Connector 13">
            <a:extLst>
              <a:ext uri="{FF2B5EF4-FFF2-40B4-BE49-F238E27FC236}">
                <a16:creationId xmlns:a16="http://schemas.microsoft.com/office/drawing/2014/main" id="{5814CCBE-423E-41B2-A9F3-82679F490EF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62000" y="826324"/>
            <a:ext cx="0" cy="9144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5EAABBEA-6D61-3B4F-AFC9-C39474DFF454}"/>
              </a:ext>
            </a:extLst>
          </p:cNvPr>
          <p:cNvSpPr>
            <a:spLocks noGrp="1"/>
          </p:cNvSpPr>
          <p:nvPr>
            <p:ph idx="1"/>
          </p:nvPr>
        </p:nvSpPr>
        <p:spPr>
          <a:xfrm>
            <a:off x="762000" y="1965960"/>
            <a:ext cx="6269155" cy="4686300"/>
          </a:xfrm>
        </p:spPr>
        <p:txBody>
          <a:bodyPr>
            <a:normAutofit fontScale="77500" lnSpcReduction="20000"/>
          </a:bodyPr>
          <a:lstStyle/>
          <a:p>
            <a:r>
              <a:rPr lang="en-US" sz="2600" dirty="0">
                <a:solidFill>
                  <a:srgbClr val="FFFFFF"/>
                </a:solidFill>
              </a:rPr>
              <a:t>“</a:t>
            </a:r>
            <a:r>
              <a:rPr lang="en-US" sz="2600" i="1" dirty="0">
                <a:solidFill>
                  <a:srgbClr val="FFFFFF"/>
                </a:solidFill>
              </a:rPr>
              <a:t>Hegemonic masculinity was understood as a pattern of practice (i.e., things done, not just a set of role expectations or an identity) that allowed men’s dominance over women to continue. […] It embodied the currently most honored way of being a man, it required all other men to position themselves in relation to it, and it ideologically legitimated the global subordination of women to men</a:t>
            </a:r>
            <a:r>
              <a:rPr lang="en-US" sz="2600" dirty="0">
                <a:solidFill>
                  <a:srgbClr val="FFFFFF"/>
                </a:solidFill>
              </a:rPr>
              <a:t>.” (Connell and Messerschmidt 2005, 832). </a:t>
            </a:r>
          </a:p>
          <a:p>
            <a:endParaRPr lang="en-US" dirty="0">
              <a:solidFill>
                <a:srgbClr val="FFFFFF"/>
              </a:solidFill>
            </a:endParaRPr>
          </a:p>
          <a:p>
            <a:pPr lvl="1">
              <a:buClr>
                <a:schemeClr val="bg1"/>
              </a:buClr>
              <a:buSzPct val="120000"/>
              <a:buFont typeface="Arial" panose="020B0604020202020204" pitchFamily="34" charset="0"/>
              <a:buChar char="•"/>
            </a:pPr>
            <a:r>
              <a:rPr lang="en-US" sz="2300" dirty="0">
                <a:solidFill>
                  <a:srgbClr val="FFFFFF"/>
                </a:solidFill>
              </a:rPr>
              <a:t>Distinguished from other masculinities, especially subordinated masculinities;</a:t>
            </a:r>
          </a:p>
          <a:p>
            <a:pPr lvl="1">
              <a:buClr>
                <a:schemeClr val="bg1"/>
              </a:buClr>
              <a:buSzPct val="120000"/>
              <a:buFont typeface="Arial" panose="020B0604020202020204" pitchFamily="34" charset="0"/>
              <a:buChar char="•"/>
            </a:pPr>
            <a:r>
              <a:rPr lang="en-US" sz="2300" dirty="0">
                <a:solidFill>
                  <a:srgbClr val="FFFFFF"/>
                </a:solidFill>
              </a:rPr>
              <a:t>A cultural </a:t>
            </a:r>
            <a:r>
              <a:rPr lang="en-US" sz="2300" dirty="0" err="1">
                <a:solidFill>
                  <a:srgbClr val="FFFFFF"/>
                </a:solidFill>
              </a:rPr>
              <a:t>idealised</a:t>
            </a:r>
            <a:r>
              <a:rPr lang="en-US" sz="2300" dirty="0">
                <a:solidFill>
                  <a:srgbClr val="FFFFFF"/>
                </a:solidFill>
              </a:rPr>
              <a:t> form of masculinity in a given social and historical setting; and, therefore, subject to social and historical change;</a:t>
            </a:r>
          </a:p>
          <a:p>
            <a:pPr lvl="1">
              <a:buClr>
                <a:schemeClr val="bg1"/>
              </a:buClr>
              <a:buSzPct val="120000"/>
              <a:buFont typeface="Arial" panose="020B0604020202020204" pitchFamily="34" charset="0"/>
              <a:buChar char="•"/>
            </a:pPr>
            <a:r>
              <a:rPr lang="en-US" sz="2300" dirty="0">
                <a:solidFill>
                  <a:srgbClr val="FFFFFF"/>
                </a:solidFill>
              </a:rPr>
              <a:t>Men who receive the benefits of patriarchy but do not enact strong versions of masculine dominance are said to show a complicit masculinity.</a:t>
            </a:r>
          </a:p>
          <a:p>
            <a:pPr lvl="1">
              <a:buClr>
                <a:schemeClr val="bg1"/>
              </a:buClr>
              <a:buSzPct val="120000"/>
              <a:buFont typeface="Arial" panose="020B0604020202020204" pitchFamily="34" charset="0"/>
              <a:buChar char="•"/>
            </a:pPr>
            <a:r>
              <a:rPr lang="en-US" sz="2300" dirty="0">
                <a:solidFill>
                  <a:srgbClr val="FFFFFF"/>
                </a:solidFill>
              </a:rPr>
              <a:t>Hegemony is meant as ascendancy, not necessarily violence (although this can be supported through force) “achieved through culture, institutions, and persuasion.”</a:t>
            </a:r>
          </a:p>
          <a:p>
            <a:endParaRPr lang="en-US" dirty="0">
              <a:solidFill>
                <a:srgbClr val="FFFFFF"/>
              </a:solidFill>
            </a:endParaRPr>
          </a:p>
        </p:txBody>
      </p:sp>
      <p:pic>
        <p:nvPicPr>
          <p:cNvPr id="5" name="Content Placeholder 4" descr="A person in a suit holding an object&#10;&#10;Description automatically generated">
            <a:extLst>
              <a:ext uri="{FF2B5EF4-FFF2-40B4-BE49-F238E27FC236}">
                <a16:creationId xmlns:a16="http://schemas.microsoft.com/office/drawing/2014/main" id="{C9CD7016-43DD-1D3C-A07A-16A78C82C79B}"/>
              </a:ext>
            </a:extLst>
          </p:cNvPr>
          <p:cNvPicPr>
            <a:picLocks noChangeAspect="1"/>
          </p:cNvPicPr>
          <p:nvPr/>
        </p:nvPicPr>
        <p:blipFill rotWithShape="1">
          <a:blip r:embed="rId2"/>
          <a:srcRect l="7466" r="7966"/>
          <a:stretch/>
        </p:blipFill>
        <p:spPr>
          <a:xfrm>
            <a:off x="7552266" y="10"/>
            <a:ext cx="4639734" cy="6857990"/>
          </a:xfrm>
          <a:prstGeom prst="rect">
            <a:avLst/>
          </a:prstGeom>
        </p:spPr>
      </p:pic>
    </p:spTree>
    <p:extLst>
      <p:ext uri="{BB962C8B-B14F-4D97-AF65-F5344CB8AC3E}">
        <p14:creationId xmlns:p14="http://schemas.microsoft.com/office/powerpoint/2010/main" val="9670757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26297-156A-87AA-6E70-594520467EEC}"/>
              </a:ext>
            </a:extLst>
          </p:cNvPr>
          <p:cNvSpPr>
            <a:spLocks noGrp="1"/>
          </p:cNvSpPr>
          <p:nvPr>
            <p:ph type="title"/>
          </p:nvPr>
        </p:nvSpPr>
        <p:spPr>
          <a:xfrm>
            <a:off x="1024128" y="585216"/>
            <a:ext cx="6066818" cy="1499616"/>
          </a:xfrm>
        </p:spPr>
        <p:txBody>
          <a:bodyPr>
            <a:normAutofit/>
          </a:bodyPr>
          <a:lstStyle/>
          <a:p>
            <a:r>
              <a:rPr lang="en-US" dirty="0"/>
              <a:t>Chandra Talpade Mohanty: Under western eyes</a:t>
            </a:r>
          </a:p>
        </p:txBody>
      </p:sp>
      <p:sp>
        <p:nvSpPr>
          <p:cNvPr id="9" name="Content Placeholder 8">
            <a:extLst>
              <a:ext uri="{FF2B5EF4-FFF2-40B4-BE49-F238E27FC236}">
                <a16:creationId xmlns:a16="http://schemas.microsoft.com/office/drawing/2014/main" id="{2DD05BEC-E2D0-F644-1D7F-83A2C57B7E79}"/>
              </a:ext>
            </a:extLst>
          </p:cNvPr>
          <p:cNvSpPr>
            <a:spLocks noGrp="1"/>
          </p:cNvSpPr>
          <p:nvPr>
            <p:ph idx="1"/>
          </p:nvPr>
        </p:nvSpPr>
        <p:spPr>
          <a:xfrm>
            <a:off x="685800" y="2189746"/>
            <a:ext cx="6405146" cy="4788569"/>
          </a:xfrm>
        </p:spPr>
        <p:txBody>
          <a:bodyPr>
            <a:normAutofit fontScale="77500" lnSpcReduction="20000"/>
          </a:bodyPr>
          <a:lstStyle/>
          <a:p>
            <a:r>
              <a:rPr lang="en-US" sz="2300" dirty="0"/>
              <a:t>Colonization: “</a:t>
            </a:r>
            <a:r>
              <a:rPr lang="en-US" sz="2300" i="1" dirty="0"/>
              <a:t>a relation of structural domination and the [often violent] suppression of the heterogeneity [or plurality] of subjects in question</a:t>
            </a:r>
            <a:r>
              <a:rPr lang="en-US" sz="2300" dirty="0"/>
              <a:t>”.</a:t>
            </a:r>
          </a:p>
          <a:p>
            <a:r>
              <a:rPr lang="en-US" sz="2300" dirty="0"/>
              <a:t>Western feminist scholars construct the category of </a:t>
            </a:r>
            <a:r>
              <a:rPr lang="en-US" sz="2300" b="1" dirty="0"/>
              <a:t>Third world woman</a:t>
            </a:r>
            <a:r>
              <a:rPr lang="en-US" sz="2300" dirty="0"/>
              <a:t> and impose it on women in the third world. </a:t>
            </a:r>
          </a:p>
          <a:p>
            <a:r>
              <a:rPr lang="en-US" sz="2300" dirty="0"/>
              <a:t>Process of constructing a category creates a homogeneous group that distorts real women and perpetuates oppressive stereotypes (generalizations).</a:t>
            </a:r>
          </a:p>
          <a:p>
            <a:r>
              <a:rPr lang="en-US" sz="2300" dirty="0"/>
              <a:t>Creation of myth that third world woman is powerless, weak, exploited, oppressed and sexually harassed. Western feminists can then present themselves as: </a:t>
            </a:r>
          </a:p>
          <a:p>
            <a:pPr lvl="1">
              <a:buClr>
                <a:schemeClr val="tx1"/>
              </a:buClr>
              <a:buFont typeface="Arial" panose="020B0604020202020204" pitchFamily="34" charset="0"/>
              <a:buChar char="•"/>
            </a:pPr>
            <a:r>
              <a:rPr lang="en-US" sz="2300" dirty="0"/>
              <a:t>Emancipated.</a:t>
            </a:r>
          </a:p>
          <a:p>
            <a:pPr lvl="1">
              <a:buClr>
                <a:schemeClr val="tx1"/>
              </a:buClr>
              <a:buFont typeface="Arial" panose="020B0604020202020204" pitchFamily="34" charset="0"/>
              <a:buChar char="•"/>
            </a:pPr>
            <a:r>
              <a:rPr lang="en-US" sz="2300" dirty="0"/>
              <a:t>Embodying the values and norms of feminism (and hegemonic femininity).</a:t>
            </a:r>
          </a:p>
          <a:p>
            <a:pPr marL="128016" lvl="1" indent="0">
              <a:buClr>
                <a:schemeClr val="tx1"/>
              </a:buClr>
              <a:buNone/>
            </a:pPr>
            <a:r>
              <a:rPr lang="en-US" sz="2300" dirty="0"/>
              <a:t>As such, Western feminists depend on the ‘Other’ to maintain their position of superiority.</a:t>
            </a:r>
          </a:p>
          <a:p>
            <a:pPr marL="128016" lvl="1" indent="0">
              <a:buClr>
                <a:schemeClr val="tx1"/>
              </a:buClr>
              <a:buNone/>
            </a:pPr>
            <a:r>
              <a:rPr lang="en-US" sz="2300" dirty="0"/>
              <a:t>They are also in a position to bring the values of feminism to the weak, oppressed and powerless third world woman. </a:t>
            </a:r>
          </a:p>
          <a:p>
            <a:endParaRPr lang="en-US" sz="2300" dirty="0"/>
          </a:p>
          <a:p>
            <a:endParaRPr lang="en-US" dirty="0"/>
          </a:p>
          <a:p>
            <a:endParaRPr lang="en-US" dirty="0"/>
          </a:p>
        </p:txBody>
      </p:sp>
      <p:pic>
        <p:nvPicPr>
          <p:cNvPr id="5" name="Content Placeholder 4" descr="A picture containing text, person, indoor, posing&#10;&#10;Description automatically generated">
            <a:extLst>
              <a:ext uri="{FF2B5EF4-FFF2-40B4-BE49-F238E27FC236}">
                <a16:creationId xmlns:a16="http://schemas.microsoft.com/office/drawing/2014/main" id="{F07B859E-5443-C4D5-F5E3-A766067B21B9}"/>
              </a:ext>
            </a:extLst>
          </p:cNvPr>
          <p:cNvPicPr>
            <a:picLocks noChangeAspect="1"/>
          </p:cNvPicPr>
          <p:nvPr/>
        </p:nvPicPr>
        <p:blipFill rotWithShape="1">
          <a:blip r:embed="rId2"/>
          <a:srcRect l="9698" r="8903" b="2"/>
          <a:stretch/>
        </p:blipFill>
        <p:spPr>
          <a:xfrm>
            <a:off x="7552266" y="10"/>
            <a:ext cx="4639733" cy="6857990"/>
          </a:xfrm>
          <a:prstGeom prst="rect">
            <a:avLst/>
          </a:prstGeom>
        </p:spPr>
      </p:pic>
    </p:spTree>
    <p:extLst>
      <p:ext uri="{BB962C8B-B14F-4D97-AF65-F5344CB8AC3E}">
        <p14:creationId xmlns:p14="http://schemas.microsoft.com/office/powerpoint/2010/main" val="20321918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09556B-EAE9-4435-B409-0519F2CBDB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552267" cy="6858000"/>
          </a:xfrm>
          <a:prstGeom prst="rect">
            <a:avLst/>
          </a:prstGeom>
          <a:solidFill>
            <a:srgbClr val="6140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40ED81B-B904-2ECC-6489-6FD6AD89BAC2}"/>
              </a:ext>
            </a:extLst>
          </p:cNvPr>
          <p:cNvSpPr>
            <a:spLocks noGrp="1"/>
          </p:cNvSpPr>
          <p:nvPr>
            <p:ph type="title"/>
          </p:nvPr>
        </p:nvSpPr>
        <p:spPr>
          <a:xfrm>
            <a:off x="1024128" y="585216"/>
            <a:ext cx="6007027" cy="1499616"/>
          </a:xfrm>
        </p:spPr>
        <p:txBody>
          <a:bodyPr>
            <a:normAutofit/>
          </a:bodyPr>
          <a:lstStyle/>
          <a:p>
            <a:r>
              <a:rPr lang="en-US">
                <a:solidFill>
                  <a:srgbClr val="FFFFFF"/>
                </a:solidFill>
              </a:rPr>
              <a:t>Maria lugones: toward a decolonial feminism</a:t>
            </a:r>
          </a:p>
        </p:txBody>
      </p:sp>
      <p:cxnSp>
        <p:nvCxnSpPr>
          <p:cNvPr id="14" name="Straight Connector 13">
            <a:extLst>
              <a:ext uri="{FF2B5EF4-FFF2-40B4-BE49-F238E27FC236}">
                <a16:creationId xmlns:a16="http://schemas.microsoft.com/office/drawing/2014/main" id="{5814CCBE-423E-41B2-A9F3-82679F490EF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62000" y="826324"/>
            <a:ext cx="0" cy="9144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6D1718E3-6A9D-2D79-4C54-AC4CA795F684}"/>
              </a:ext>
            </a:extLst>
          </p:cNvPr>
          <p:cNvSpPr>
            <a:spLocks noGrp="1"/>
          </p:cNvSpPr>
          <p:nvPr>
            <p:ph idx="1"/>
          </p:nvPr>
        </p:nvSpPr>
        <p:spPr>
          <a:xfrm>
            <a:off x="762000" y="2400300"/>
            <a:ext cx="6269155" cy="4069080"/>
          </a:xfrm>
        </p:spPr>
        <p:txBody>
          <a:bodyPr>
            <a:normAutofit/>
          </a:bodyPr>
          <a:lstStyle/>
          <a:p>
            <a:r>
              <a:rPr lang="en-US" dirty="0">
                <a:solidFill>
                  <a:srgbClr val="FFFFFF"/>
                </a:solidFill>
              </a:rPr>
              <a:t>Emerging from the Latin American context</a:t>
            </a:r>
          </a:p>
          <a:p>
            <a:r>
              <a:rPr lang="en-US" dirty="0">
                <a:solidFill>
                  <a:srgbClr val="FFFFFF"/>
                </a:solidFill>
              </a:rPr>
              <a:t>Introduces the notion of “coloniality of gender”: not simply a mode of classification, but a process of dehumanizing people to fit them into this category. </a:t>
            </a:r>
          </a:p>
          <a:p>
            <a:r>
              <a:rPr lang="en-US" dirty="0">
                <a:solidFill>
                  <a:srgbClr val="FFFFFF"/>
                </a:solidFill>
              </a:rPr>
              <a:t>Key to think of resistance, “not as the end or goal of political struggle, but rather as its beginning, its possibility.” (2010, 746)</a:t>
            </a:r>
          </a:p>
          <a:p>
            <a:r>
              <a:rPr lang="en-US" dirty="0">
                <a:solidFill>
                  <a:srgbClr val="FFFFFF"/>
                </a:solidFill>
              </a:rPr>
              <a:t>For this possibility to emerge, she focuses on the resister “to unveil what is obscured.”</a:t>
            </a:r>
          </a:p>
        </p:txBody>
      </p:sp>
      <p:pic>
        <p:nvPicPr>
          <p:cNvPr id="5" name="Content Placeholder 4" descr="A person with her hand on her cheek&#10;&#10;Description automatically generated">
            <a:extLst>
              <a:ext uri="{FF2B5EF4-FFF2-40B4-BE49-F238E27FC236}">
                <a16:creationId xmlns:a16="http://schemas.microsoft.com/office/drawing/2014/main" id="{F86C45FC-1DDE-7353-22E6-0979D075C31B}"/>
              </a:ext>
            </a:extLst>
          </p:cNvPr>
          <p:cNvPicPr>
            <a:picLocks noChangeAspect="1"/>
          </p:cNvPicPr>
          <p:nvPr/>
        </p:nvPicPr>
        <p:blipFill rotWithShape="1">
          <a:blip r:embed="rId2"/>
          <a:srcRect t="1820"/>
          <a:stretch/>
        </p:blipFill>
        <p:spPr>
          <a:xfrm>
            <a:off x="7552266" y="10"/>
            <a:ext cx="4639734" cy="6857990"/>
          </a:xfrm>
          <a:prstGeom prst="rect">
            <a:avLst/>
          </a:prstGeom>
        </p:spPr>
      </p:pic>
    </p:spTree>
    <p:extLst>
      <p:ext uri="{BB962C8B-B14F-4D97-AF65-F5344CB8AC3E}">
        <p14:creationId xmlns:p14="http://schemas.microsoft.com/office/powerpoint/2010/main" val="33942847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Media 1" descr="Toward Decolonial Feminisms Interviews 2018">
            <a:hlinkClick r:id="" action="ppaction://media"/>
            <a:extLst>
              <a:ext uri="{FF2B5EF4-FFF2-40B4-BE49-F238E27FC236}">
                <a16:creationId xmlns:a16="http://schemas.microsoft.com/office/drawing/2014/main" id="{605FBB36-5F62-2C74-10FA-CC595D6AAE3C}"/>
              </a:ext>
            </a:extLst>
          </p:cNvPr>
          <p:cNvPicPr>
            <a:picLocks noRot="1" noChangeAspect="1"/>
          </p:cNvPicPr>
          <p:nvPr>
            <a:videoFile r:link="rId1"/>
          </p:nvPr>
        </p:nvPicPr>
        <p:blipFill>
          <a:blip r:embed="rId3"/>
          <a:stretch>
            <a:fillRect/>
          </a:stretch>
        </p:blipFill>
        <p:spPr>
          <a:xfrm>
            <a:off x="1257300" y="695134"/>
            <a:ext cx="9677400" cy="5467731"/>
          </a:xfrm>
          <a:prstGeom prst="rect">
            <a:avLst/>
          </a:prstGeom>
        </p:spPr>
      </p:pic>
      <p:sp>
        <p:nvSpPr>
          <p:cNvPr id="3" name="TextBox 2">
            <a:extLst>
              <a:ext uri="{FF2B5EF4-FFF2-40B4-BE49-F238E27FC236}">
                <a16:creationId xmlns:a16="http://schemas.microsoft.com/office/drawing/2014/main" id="{89255B2D-5078-21F1-D7B6-1ABC0A807CF2}"/>
              </a:ext>
            </a:extLst>
          </p:cNvPr>
          <p:cNvSpPr txBox="1"/>
          <p:nvPr/>
        </p:nvSpPr>
        <p:spPr>
          <a:xfrm>
            <a:off x="5312781" y="6308203"/>
            <a:ext cx="1760418" cy="400110"/>
          </a:xfrm>
          <a:prstGeom prst="rect">
            <a:avLst/>
          </a:prstGeom>
          <a:noFill/>
        </p:spPr>
        <p:txBody>
          <a:bodyPr wrap="none" rtlCol="0">
            <a:spAutoFit/>
          </a:bodyPr>
          <a:lstStyle/>
          <a:p>
            <a:r>
              <a:rPr lang="en-US" sz="2000" b="1" dirty="0"/>
              <a:t>María </a:t>
            </a:r>
            <a:r>
              <a:rPr lang="en-US" sz="2000" b="1" dirty="0" err="1"/>
              <a:t>Lugones</a:t>
            </a:r>
            <a:endParaRPr lang="en-US" sz="2000" b="1" dirty="0"/>
          </a:p>
        </p:txBody>
      </p:sp>
    </p:spTree>
    <p:extLst>
      <p:ext uri="{BB962C8B-B14F-4D97-AF65-F5344CB8AC3E}">
        <p14:creationId xmlns:p14="http://schemas.microsoft.com/office/powerpoint/2010/main" val="872048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Media 1" descr="A Decolonial Feminism - Talk &amp; Readings">
            <a:hlinkClick r:id="" action="ppaction://media"/>
            <a:extLst>
              <a:ext uri="{FF2B5EF4-FFF2-40B4-BE49-F238E27FC236}">
                <a16:creationId xmlns:a16="http://schemas.microsoft.com/office/drawing/2014/main" id="{967A3DB3-1AE6-3E07-09E9-9CEBE605EF35}"/>
              </a:ext>
            </a:extLst>
          </p:cNvPr>
          <p:cNvPicPr>
            <a:picLocks noRot="1" noChangeAspect="1"/>
          </p:cNvPicPr>
          <p:nvPr>
            <a:videoFile r:link="rId1"/>
          </p:nvPr>
        </p:nvPicPr>
        <p:blipFill>
          <a:blip r:embed="rId3"/>
          <a:stretch>
            <a:fillRect/>
          </a:stretch>
        </p:blipFill>
        <p:spPr>
          <a:xfrm>
            <a:off x="1240779" y="685800"/>
            <a:ext cx="9671061" cy="5464150"/>
          </a:xfrm>
          <a:prstGeom prst="rect">
            <a:avLst/>
          </a:prstGeom>
        </p:spPr>
      </p:pic>
      <p:sp>
        <p:nvSpPr>
          <p:cNvPr id="3" name="TextBox 2">
            <a:extLst>
              <a:ext uri="{FF2B5EF4-FFF2-40B4-BE49-F238E27FC236}">
                <a16:creationId xmlns:a16="http://schemas.microsoft.com/office/drawing/2014/main" id="{999DDF32-439E-2AFC-071A-350733AAA141}"/>
              </a:ext>
            </a:extLst>
          </p:cNvPr>
          <p:cNvSpPr txBox="1"/>
          <p:nvPr/>
        </p:nvSpPr>
        <p:spPr>
          <a:xfrm>
            <a:off x="5312781" y="6308203"/>
            <a:ext cx="1996316" cy="400110"/>
          </a:xfrm>
          <a:prstGeom prst="rect">
            <a:avLst/>
          </a:prstGeom>
          <a:noFill/>
        </p:spPr>
        <p:txBody>
          <a:bodyPr wrap="none" rtlCol="0">
            <a:spAutoFit/>
          </a:bodyPr>
          <a:lstStyle/>
          <a:p>
            <a:r>
              <a:rPr lang="en-US" sz="2000" b="1" dirty="0"/>
              <a:t>Françoise </a:t>
            </a:r>
            <a:r>
              <a:rPr lang="en-US" sz="2000" b="1" dirty="0" err="1"/>
              <a:t>Vergès</a:t>
            </a:r>
            <a:endParaRPr lang="en-US" sz="2000" b="1" dirty="0"/>
          </a:p>
        </p:txBody>
      </p:sp>
    </p:spTree>
    <p:extLst>
      <p:ext uri="{BB962C8B-B14F-4D97-AF65-F5344CB8AC3E}">
        <p14:creationId xmlns:p14="http://schemas.microsoft.com/office/powerpoint/2010/main" val="213149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B19C7-EFBC-2AA1-D9B7-85FE779AA29B}"/>
              </a:ext>
            </a:extLst>
          </p:cNvPr>
          <p:cNvSpPr>
            <a:spLocks noGrp="1"/>
          </p:cNvSpPr>
          <p:nvPr>
            <p:ph type="title"/>
          </p:nvPr>
        </p:nvSpPr>
        <p:spPr>
          <a:xfrm>
            <a:off x="1024128" y="585216"/>
            <a:ext cx="8018272" cy="1499616"/>
          </a:xfrm>
        </p:spPr>
        <p:txBody>
          <a:bodyPr>
            <a:normAutofit/>
          </a:bodyPr>
          <a:lstStyle/>
          <a:p>
            <a:r>
              <a:rPr lang="en-US" dirty="0"/>
              <a:t>TOPIC 5 : Readings for seminars</a:t>
            </a:r>
          </a:p>
        </p:txBody>
      </p:sp>
      <p:sp>
        <p:nvSpPr>
          <p:cNvPr id="3" name="Content Placeholder 2">
            <a:extLst>
              <a:ext uri="{FF2B5EF4-FFF2-40B4-BE49-F238E27FC236}">
                <a16:creationId xmlns:a16="http://schemas.microsoft.com/office/drawing/2014/main" id="{856D357B-637E-F27C-BAB2-7124F29E751B}"/>
              </a:ext>
            </a:extLst>
          </p:cNvPr>
          <p:cNvSpPr>
            <a:spLocks noGrp="1"/>
          </p:cNvSpPr>
          <p:nvPr>
            <p:ph idx="1"/>
          </p:nvPr>
        </p:nvSpPr>
        <p:spPr>
          <a:xfrm>
            <a:off x="754380" y="2084832"/>
            <a:ext cx="8288019" cy="4224528"/>
          </a:xfrm>
        </p:spPr>
        <p:txBody>
          <a:bodyPr>
            <a:noAutofit/>
          </a:bodyPr>
          <a:lstStyle/>
          <a:p>
            <a:pPr marL="0" indent="0">
              <a:buNone/>
            </a:pPr>
            <a:r>
              <a:rPr lang="en-US" sz="1800" b="1" dirty="0"/>
              <a:t>CORE READING</a:t>
            </a:r>
            <a:br>
              <a:rPr lang="en-US" sz="1800" dirty="0"/>
            </a:br>
            <a:endParaRPr lang="en-US" sz="1800" dirty="0"/>
          </a:p>
          <a:p>
            <a:pPr marL="459486" lvl="1" indent="-285750">
              <a:buClr>
                <a:schemeClr val="tx1"/>
              </a:buClr>
            </a:pPr>
            <a:r>
              <a:rPr lang="en-US" dirty="0"/>
              <a:t>R.W. Connell (2005) Imperialism, and masculinities, in Michael S. Kimmel, Jeff Hearn and R.W. Connell (Eds.) </a:t>
            </a:r>
            <a:r>
              <a:rPr lang="en-US" i="1" dirty="0"/>
              <a:t>Handbook of Studies on Men and Masculinities</a:t>
            </a:r>
            <a:r>
              <a:rPr lang="en-US" dirty="0"/>
              <a:t>, pp. 71-89. </a:t>
            </a:r>
            <a:r>
              <a:rPr lang="en-US" dirty="0" err="1"/>
              <a:t>Ebook</a:t>
            </a:r>
            <a:r>
              <a:rPr lang="en-US" dirty="0"/>
              <a:t> available via QMUL Library.</a:t>
            </a:r>
          </a:p>
          <a:p>
            <a:pPr marL="173736" lvl="1" indent="0">
              <a:buNone/>
            </a:pPr>
            <a:endParaRPr lang="en-US" dirty="0"/>
          </a:p>
          <a:p>
            <a:pPr marL="173736" lvl="1" indent="0">
              <a:buNone/>
            </a:pPr>
            <a:r>
              <a:rPr lang="en-US" dirty="0"/>
              <a:t>Please choose ONE of the following three articles. These are important interventions on feminism and Third World women, and decolonial feminism.</a:t>
            </a:r>
            <a:br>
              <a:rPr lang="en-US" dirty="0"/>
            </a:br>
            <a:endParaRPr lang="en-US" dirty="0"/>
          </a:p>
          <a:p>
            <a:pPr marL="459486" lvl="1" indent="-285750">
              <a:buClr>
                <a:schemeClr val="tx1"/>
              </a:buClr>
            </a:pPr>
            <a:r>
              <a:rPr lang="en-US" dirty="0"/>
              <a:t>Chandra T. Mohanty (1988) Under Western Eyes: Feminist Scholarship and Colonial Discourses. </a:t>
            </a:r>
            <a:r>
              <a:rPr lang="en-US" i="1" dirty="0"/>
              <a:t>Feminist Review </a:t>
            </a:r>
            <a:r>
              <a:rPr lang="en-US" dirty="0"/>
              <a:t>30, pp. 61-88.</a:t>
            </a:r>
          </a:p>
          <a:p>
            <a:pPr marL="459486" lvl="1" indent="-285750">
              <a:buClr>
                <a:schemeClr val="tx1"/>
              </a:buClr>
            </a:pPr>
            <a:r>
              <a:rPr lang="en-US" dirty="0"/>
              <a:t>María </a:t>
            </a:r>
            <a:r>
              <a:rPr lang="en-US" dirty="0" err="1"/>
              <a:t>Lugones</a:t>
            </a:r>
            <a:r>
              <a:rPr lang="en-US" dirty="0"/>
              <a:t> (2010) Toward a decolonial feminism. </a:t>
            </a:r>
            <a:r>
              <a:rPr lang="en-US" i="1" dirty="0"/>
              <a:t>Hypatia</a:t>
            </a:r>
            <a:r>
              <a:rPr lang="en-US" dirty="0"/>
              <a:t> 25(4), pp. 742-759.</a:t>
            </a:r>
          </a:p>
          <a:p>
            <a:pPr marL="459486" lvl="1" indent="-285750">
              <a:buClr>
                <a:schemeClr val="tx1"/>
              </a:buClr>
            </a:pPr>
            <a:r>
              <a:rPr lang="en-US" dirty="0"/>
              <a:t>Françoise </a:t>
            </a:r>
            <a:r>
              <a:rPr lang="en-US" dirty="0" err="1"/>
              <a:t>Vergès</a:t>
            </a:r>
            <a:r>
              <a:rPr lang="en-US" dirty="0"/>
              <a:t> (2021) “Taking Sides: Decolonial Feminism” in </a:t>
            </a:r>
            <a:r>
              <a:rPr lang="en-US" i="1" dirty="0"/>
              <a:t>A decolonial feminism</a:t>
            </a:r>
            <a:r>
              <a:rPr lang="en-US" dirty="0"/>
              <a:t>. London: Pluto Press, pp. 4-42.</a:t>
            </a:r>
          </a:p>
        </p:txBody>
      </p:sp>
      <p:sp>
        <p:nvSpPr>
          <p:cNvPr id="8" name="Rectangle 7">
            <a:extLst>
              <a:ext uri="{FF2B5EF4-FFF2-40B4-BE49-F238E27FC236}">
                <a16:creationId xmlns:a16="http://schemas.microsoft.com/office/drawing/2014/main" id="{77D7B666-D5E6-48CE-B26A-FB5E5C34AF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583348" y="325601"/>
            <a:ext cx="2286920" cy="39080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F6EE670A-A41A-44AD-BC1C-2090365EB5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583348" y="4394539"/>
            <a:ext cx="2286920" cy="202972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225848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E194971-2F2D-44B0-8AE6-FF2DCCEE0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Oval 5">
            <a:extLst>
              <a:ext uri="{FF2B5EF4-FFF2-40B4-BE49-F238E27FC236}">
                <a16:creationId xmlns:a16="http://schemas.microsoft.com/office/drawing/2014/main" id="{1FF9A61E-EB11-4C46-82E1-3E00A3B4B4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cxnSp>
        <p:nvCxnSpPr>
          <p:cNvPr id="11" name="Straight Connector 10">
            <a:extLst>
              <a:ext uri="{FF2B5EF4-FFF2-40B4-BE49-F238E27FC236}">
                <a16:creationId xmlns:a16="http://schemas.microsoft.com/office/drawing/2014/main" id="{5E564EB3-35F2-4EFF-87DC-642DC020526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13" name="Rectangle 12">
            <a:extLst>
              <a:ext uri="{FF2B5EF4-FFF2-40B4-BE49-F238E27FC236}">
                <a16:creationId xmlns:a16="http://schemas.microsoft.com/office/drawing/2014/main" id="{62AE8E50-35D4-4D5A-A4BB-168CBB027D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6">
            <a:extLst>
              <a:ext uri="{FF2B5EF4-FFF2-40B4-BE49-F238E27FC236}">
                <a16:creationId xmlns:a16="http://schemas.microsoft.com/office/drawing/2014/main" id="{C37D1D6D-17D8-4296-B000-665D1892D0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0396" y="1276539"/>
            <a:ext cx="5570417" cy="4304276"/>
          </a:xfrm>
          <a:custGeom>
            <a:avLst/>
            <a:gdLst>
              <a:gd name="connsiteX0" fmla="*/ 4985599 w 5593163"/>
              <a:gd name="connsiteY0" fmla="*/ 636203 h 4305008"/>
              <a:gd name="connsiteX1" fmla="*/ 5528908 w 5593163"/>
              <a:gd name="connsiteY1" fmla="*/ 1181049 h 4305008"/>
              <a:gd name="connsiteX2" fmla="*/ 4985599 w 5593163"/>
              <a:gd name="connsiteY2" fmla="*/ 636203 h 4305008"/>
              <a:gd name="connsiteX3" fmla="*/ 4985599 w 5593163"/>
              <a:gd name="connsiteY3" fmla="*/ 2333028 h 4305008"/>
              <a:gd name="connsiteX4" fmla="*/ 5528908 w 5593163"/>
              <a:gd name="connsiteY4" fmla="*/ 2877874 h 4305008"/>
              <a:gd name="connsiteX5" fmla="*/ 4985599 w 5593163"/>
              <a:gd name="connsiteY5" fmla="*/ 2333028 h 4305008"/>
              <a:gd name="connsiteX6" fmla="*/ 4985597 w 5593163"/>
              <a:gd name="connsiteY6" fmla="*/ 2034258 h 4305008"/>
              <a:gd name="connsiteX7" fmla="*/ 5528906 w 5593163"/>
              <a:gd name="connsiteY7" fmla="*/ 1493690 h 4305008"/>
              <a:gd name="connsiteX8" fmla="*/ 4985597 w 5593163"/>
              <a:gd name="connsiteY8" fmla="*/ 2034258 h 4305008"/>
              <a:gd name="connsiteX9" fmla="*/ 4985597 w 5593163"/>
              <a:gd name="connsiteY9" fmla="*/ 3731083 h 4305008"/>
              <a:gd name="connsiteX10" fmla="*/ 5528906 w 5593163"/>
              <a:gd name="connsiteY10" fmla="*/ 3190516 h 4305008"/>
              <a:gd name="connsiteX11" fmla="*/ 4985597 w 5593163"/>
              <a:gd name="connsiteY11" fmla="*/ 3731083 h 4305008"/>
              <a:gd name="connsiteX12" fmla="*/ 4842232 w 5593163"/>
              <a:gd name="connsiteY12" fmla="*/ 503273 h 4305008"/>
              <a:gd name="connsiteX13" fmla="*/ 4842826 w 5593163"/>
              <a:gd name="connsiteY13" fmla="*/ 491833 h 4305008"/>
              <a:gd name="connsiteX14" fmla="*/ 4843324 w 5593163"/>
              <a:gd name="connsiteY14" fmla="*/ 491866 h 4305008"/>
              <a:gd name="connsiteX15" fmla="*/ 4843350 w 5593163"/>
              <a:gd name="connsiteY15" fmla="*/ 491372 h 4305008"/>
              <a:gd name="connsiteX16" fmla="*/ 4860437 w 5593163"/>
              <a:gd name="connsiteY16" fmla="*/ 492995 h 4305008"/>
              <a:gd name="connsiteX17" fmla="*/ 4955899 w 5593163"/>
              <a:gd name="connsiteY17" fmla="*/ 502060 h 4305008"/>
              <a:gd name="connsiteX18" fmla="*/ 4972112 w 5593163"/>
              <a:gd name="connsiteY18" fmla="*/ 503599 h 4305008"/>
              <a:gd name="connsiteX19" fmla="*/ 4972229 w 5593163"/>
              <a:gd name="connsiteY19" fmla="*/ 504747 h 4305008"/>
              <a:gd name="connsiteX20" fmla="*/ 5583809 w 5593163"/>
              <a:gd name="connsiteY20" fmla="*/ 948988 h 4305008"/>
              <a:gd name="connsiteX21" fmla="*/ 5593163 w 5593163"/>
              <a:gd name="connsiteY21" fmla="*/ 971822 h 4305008"/>
              <a:gd name="connsiteX22" fmla="*/ 5593163 w 5593163"/>
              <a:gd name="connsiteY22" fmla="*/ 1318474 h 4305008"/>
              <a:gd name="connsiteX23" fmla="*/ 5558612 w 5593163"/>
              <a:gd name="connsiteY23" fmla="*/ 1315193 h 4305008"/>
              <a:gd name="connsiteX24" fmla="*/ 5542395 w 5593163"/>
              <a:gd name="connsiteY24" fmla="*/ 1313653 h 4305008"/>
              <a:gd name="connsiteX25" fmla="*/ 5542279 w 5593163"/>
              <a:gd name="connsiteY25" fmla="*/ 1312505 h 4305008"/>
              <a:gd name="connsiteX26" fmla="*/ 4852114 w 5593163"/>
              <a:gd name="connsiteY26" fmla="*/ 619464 h 4305008"/>
              <a:gd name="connsiteX27" fmla="*/ 4851608 w 5593163"/>
              <a:gd name="connsiteY27" fmla="*/ 619401 h 4305008"/>
              <a:gd name="connsiteX28" fmla="*/ 4851070 w 5593163"/>
              <a:gd name="connsiteY28" fmla="*/ 612725 h 4305008"/>
              <a:gd name="connsiteX29" fmla="*/ 4843603 w 5593163"/>
              <a:gd name="connsiteY29" fmla="*/ 520249 h 4305008"/>
              <a:gd name="connsiteX30" fmla="*/ 4842232 w 5593163"/>
              <a:gd name="connsiteY30" fmla="*/ 503273 h 4305008"/>
              <a:gd name="connsiteX31" fmla="*/ 4842232 w 5593163"/>
              <a:gd name="connsiteY31" fmla="*/ 2200098 h 4305008"/>
              <a:gd name="connsiteX32" fmla="*/ 4842826 w 5593163"/>
              <a:gd name="connsiteY32" fmla="*/ 2188658 h 4305008"/>
              <a:gd name="connsiteX33" fmla="*/ 4843324 w 5593163"/>
              <a:gd name="connsiteY33" fmla="*/ 2188691 h 4305008"/>
              <a:gd name="connsiteX34" fmla="*/ 4843350 w 5593163"/>
              <a:gd name="connsiteY34" fmla="*/ 2188197 h 4305008"/>
              <a:gd name="connsiteX35" fmla="*/ 4860437 w 5593163"/>
              <a:gd name="connsiteY35" fmla="*/ 2189820 h 4305008"/>
              <a:gd name="connsiteX36" fmla="*/ 4955899 w 5593163"/>
              <a:gd name="connsiteY36" fmla="*/ 2198885 h 4305008"/>
              <a:gd name="connsiteX37" fmla="*/ 4972112 w 5593163"/>
              <a:gd name="connsiteY37" fmla="*/ 2200424 h 4305008"/>
              <a:gd name="connsiteX38" fmla="*/ 4972229 w 5593163"/>
              <a:gd name="connsiteY38" fmla="*/ 2201572 h 4305008"/>
              <a:gd name="connsiteX39" fmla="*/ 5583809 w 5593163"/>
              <a:gd name="connsiteY39" fmla="*/ 2645813 h 4305008"/>
              <a:gd name="connsiteX40" fmla="*/ 5593163 w 5593163"/>
              <a:gd name="connsiteY40" fmla="*/ 2668647 h 4305008"/>
              <a:gd name="connsiteX41" fmla="*/ 5593163 w 5593163"/>
              <a:gd name="connsiteY41" fmla="*/ 3015299 h 4305008"/>
              <a:gd name="connsiteX42" fmla="*/ 5558612 w 5593163"/>
              <a:gd name="connsiteY42" fmla="*/ 3012018 h 4305008"/>
              <a:gd name="connsiteX43" fmla="*/ 5542395 w 5593163"/>
              <a:gd name="connsiteY43" fmla="*/ 3010478 h 4305008"/>
              <a:gd name="connsiteX44" fmla="*/ 5542279 w 5593163"/>
              <a:gd name="connsiteY44" fmla="*/ 3009330 h 4305008"/>
              <a:gd name="connsiteX45" fmla="*/ 4852114 w 5593163"/>
              <a:gd name="connsiteY45" fmla="*/ 2316289 h 4305008"/>
              <a:gd name="connsiteX46" fmla="*/ 4851608 w 5593163"/>
              <a:gd name="connsiteY46" fmla="*/ 2316226 h 4305008"/>
              <a:gd name="connsiteX47" fmla="*/ 4851070 w 5593163"/>
              <a:gd name="connsiteY47" fmla="*/ 2309550 h 4305008"/>
              <a:gd name="connsiteX48" fmla="*/ 4843603 w 5593163"/>
              <a:gd name="connsiteY48" fmla="*/ 2217074 h 4305008"/>
              <a:gd name="connsiteX49" fmla="*/ 4842232 w 5593163"/>
              <a:gd name="connsiteY49" fmla="*/ 2200098 h 4305008"/>
              <a:gd name="connsiteX50" fmla="*/ 4842232 w 5593163"/>
              <a:gd name="connsiteY50" fmla="*/ 3896923 h 4305008"/>
              <a:gd name="connsiteX51" fmla="*/ 4842826 w 5593163"/>
              <a:gd name="connsiteY51" fmla="*/ 3885483 h 4305008"/>
              <a:gd name="connsiteX52" fmla="*/ 4843324 w 5593163"/>
              <a:gd name="connsiteY52" fmla="*/ 3885516 h 4305008"/>
              <a:gd name="connsiteX53" fmla="*/ 4843350 w 5593163"/>
              <a:gd name="connsiteY53" fmla="*/ 3885022 h 4305008"/>
              <a:gd name="connsiteX54" fmla="*/ 4860437 w 5593163"/>
              <a:gd name="connsiteY54" fmla="*/ 3886645 h 4305008"/>
              <a:gd name="connsiteX55" fmla="*/ 4955899 w 5593163"/>
              <a:gd name="connsiteY55" fmla="*/ 3895710 h 4305008"/>
              <a:gd name="connsiteX56" fmla="*/ 4972112 w 5593163"/>
              <a:gd name="connsiteY56" fmla="*/ 3897249 h 4305008"/>
              <a:gd name="connsiteX57" fmla="*/ 4972229 w 5593163"/>
              <a:gd name="connsiteY57" fmla="*/ 3898397 h 4305008"/>
              <a:gd name="connsiteX58" fmla="*/ 5532481 w 5593163"/>
              <a:gd name="connsiteY58" fmla="*/ 4255797 h 4305008"/>
              <a:gd name="connsiteX59" fmla="*/ 5560926 w 5593163"/>
              <a:gd name="connsiteY59" fmla="*/ 4305008 h 4305008"/>
              <a:gd name="connsiteX60" fmla="*/ 5409877 w 5593163"/>
              <a:gd name="connsiteY60" fmla="*/ 4305008 h 4305008"/>
              <a:gd name="connsiteX61" fmla="*/ 5357754 w 5593163"/>
              <a:gd name="connsiteY61" fmla="*/ 4241205 h 4305008"/>
              <a:gd name="connsiteX62" fmla="*/ 4985599 w 5593163"/>
              <a:gd name="connsiteY62" fmla="*/ 4029853 h 4305008"/>
              <a:gd name="connsiteX63" fmla="*/ 5084780 w 5593163"/>
              <a:gd name="connsiteY63" fmla="*/ 4271827 h 4305008"/>
              <a:gd name="connsiteX64" fmla="*/ 5111462 w 5593163"/>
              <a:gd name="connsiteY64" fmla="*/ 4305008 h 4305008"/>
              <a:gd name="connsiteX65" fmla="*/ 4957353 w 5593163"/>
              <a:gd name="connsiteY65" fmla="*/ 4305008 h 4305008"/>
              <a:gd name="connsiteX66" fmla="*/ 4927231 w 5593163"/>
              <a:gd name="connsiteY66" fmla="*/ 4254710 h 4305008"/>
              <a:gd name="connsiteX67" fmla="*/ 4852114 w 5593163"/>
              <a:gd name="connsiteY67" fmla="*/ 4013114 h 4305008"/>
              <a:gd name="connsiteX68" fmla="*/ 4851608 w 5593163"/>
              <a:gd name="connsiteY68" fmla="*/ 4013051 h 4305008"/>
              <a:gd name="connsiteX69" fmla="*/ 4851070 w 5593163"/>
              <a:gd name="connsiteY69" fmla="*/ 4006375 h 4305008"/>
              <a:gd name="connsiteX70" fmla="*/ 4843603 w 5593163"/>
              <a:gd name="connsiteY70" fmla="*/ 3913899 h 4305008"/>
              <a:gd name="connsiteX71" fmla="*/ 4842232 w 5593163"/>
              <a:gd name="connsiteY71" fmla="*/ 3896923 h 4305008"/>
              <a:gd name="connsiteX72" fmla="*/ 4842230 w 5593163"/>
              <a:gd name="connsiteY72" fmla="*/ 469318 h 4305008"/>
              <a:gd name="connsiteX73" fmla="*/ 4843601 w 5593163"/>
              <a:gd name="connsiteY73" fmla="*/ 452471 h 4305008"/>
              <a:gd name="connsiteX74" fmla="*/ 4851065 w 5593163"/>
              <a:gd name="connsiteY74" fmla="*/ 360740 h 4305008"/>
              <a:gd name="connsiteX75" fmla="*/ 4851605 w 5593163"/>
              <a:gd name="connsiteY75" fmla="*/ 354103 h 4305008"/>
              <a:gd name="connsiteX76" fmla="*/ 4852110 w 5593163"/>
              <a:gd name="connsiteY76" fmla="*/ 354040 h 4305008"/>
              <a:gd name="connsiteX77" fmla="*/ 4936323 w 5593163"/>
              <a:gd name="connsiteY77" fmla="*/ 96778 h 4305008"/>
              <a:gd name="connsiteX78" fmla="*/ 4998957 w 5593163"/>
              <a:gd name="connsiteY78" fmla="*/ 0 h 4305008"/>
              <a:gd name="connsiteX79" fmla="*/ 5167333 w 5593163"/>
              <a:gd name="connsiteY79" fmla="*/ 0 h 4305008"/>
              <a:gd name="connsiteX80" fmla="*/ 5099105 w 5593163"/>
              <a:gd name="connsiteY80" fmla="*/ 76659 h 4305008"/>
              <a:gd name="connsiteX81" fmla="*/ 4985597 w 5593163"/>
              <a:gd name="connsiteY81" fmla="*/ 337433 h 4305008"/>
              <a:gd name="connsiteX82" fmla="*/ 5424571 w 5593163"/>
              <a:gd name="connsiteY82" fmla="*/ 44350 h 4305008"/>
              <a:gd name="connsiteX83" fmla="*/ 5446799 w 5593163"/>
              <a:gd name="connsiteY83" fmla="*/ 0 h 4305008"/>
              <a:gd name="connsiteX84" fmla="*/ 5593163 w 5593163"/>
              <a:gd name="connsiteY84" fmla="*/ 0 h 4305008"/>
              <a:gd name="connsiteX85" fmla="*/ 5593163 w 5593163"/>
              <a:gd name="connsiteY85" fmla="*/ 4197 h 4305008"/>
              <a:gd name="connsiteX86" fmla="*/ 5543598 w 5593163"/>
              <a:gd name="connsiteY86" fmla="*/ 95636 h 4305008"/>
              <a:gd name="connsiteX87" fmla="*/ 4972226 w 5593163"/>
              <a:gd name="connsiteY87" fmla="*/ 467856 h 4305008"/>
              <a:gd name="connsiteX88" fmla="*/ 4972110 w 5593163"/>
              <a:gd name="connsiteY88" fmla="*/ 468995 h 4305008"/>
              <a:gd name="connsiteX89" fmla="*/ 4955893 w 5593163"/>
              <a:gd name="connsiteY89" fmla="*/ 470523 h 4305008"/>
              <a:gd name="connsiteX90" fmla="*/ 4860466 w 5593163"/>
              <a:gd name="connsiteY90" fmla="*/ 479514 h 4305008"/>
              <a:gd name="connsiteX91" fmla="*/ 4843348 w 5593163"/>
              <a:gd name="connsiteY91" fmla="*/ 481127 h 4305008"/>
              <a:gd name="connsiteX92" fmla="*/ 4843322 w 5593163"/>
              <a:gd name="connsiteY92" fmla="*/ 480636 h 4305008"/>
              <a:gd name="connsiteX93" fmla="*/ 4842823 w 5593163"/>
              <a:gd name="connsiteY93" fmla="*/ 480669 h 4305008"/>
              <a:gd name="connsiteX94" fmla="*/ 4842230 w 5593163"/>
              <a:gd name="connsiteY94" fmla="*/ 469318 h 4305008"/>
              <a:gd name="connsiteX95" fmla="*/ 4842230 w 5593163"/>
              <a:gd name="connsiteY95" fmla="*/ 2166144 h 4305008"/>
              <a:gd name="connsiteX96" fmla="*/ 4843601 w 5593163"/>
              <a:gd name="connsiteY96" fmla="*/ 2149296 h 4305008"/>
              <a:gd name="connsiteX97" fmla="*/ 4851065 w 5593163"/>
              <a:gd name="connsiteY97" fmla="*/ 2057565 h 4305008"/>
              <a:gd name="connsiteX98" fmla="*/ 4851605 w 5593163"/>
              <a:gd name="connsiteY98" fmla="*/ 2050928 h 4305008"/>
              <a:gd name="connsiteX99" fmla="*/ 4852110 w 5593163"/>
              <a:gd name="connsiteY99" fmla="*/ 2050865 h 4305008"/>
              <a:gd name="connsiteX100" fmla="*/ 5542276 w 5593163"/>
              <a:gd name="connsiteY100" fmla="*/ 1363267 h 4305008"/>
              <a:gd name="connsiteX101" fmla="*/ 5542393 w 5593163"/>
              <a:gd name="connsiteY101" fmla="*/ 1362128 h 4305008"/>
              <a:gd name="connsiteX102" fmla="*/ 5558606 w 5593163"/>
              <a:gd name="connsiteY102" fmla="*/ 1360601 h 4305008"/>
              <a:gd name="connsiteX103" fmla="*/ 5593163 w 5593163"/>
              <a:gd name="connsiteY103" fmla="*/ 1357345 h 4305008"/>
              <a:gd name="connsiteX104" fmla="*/ 5593163 w 5593163"/>
              <a:gd name="connsiteY104" fmla="*/ 1701268 h 4305008"/>
              <a:gd name="connsiteX105" fmla="*/ 5583807 w 5593163"/>
              <a:gd name="connsiteY105" fmla="*/ 1723929 h 4305008"/>
              <a:gd name="connsiteX106" fmla="*/ 4972226 w 5593163"/>
              <a:gd name="connsiteY106" fmla="*/ 2164681 h 4305008"/>
              <a:gd name="connsiteX107" fmla="*/ 4972110 w 5593163"/>
              <a:gd name="connsiteY107" fmla="*/ 2165820 h 4305008"/>
              <a:gd name="connsiteX108" fmla="*/ 4955893 w 5593163"/>
              <a:gd name="connsiteY108" fmla="*/ 2167348 h 4305008"/>
              <a:gd name="connsiteX109" fmla="*/ 4860466 w 5593163"/>
              <a:gd name="connsiteY109" fmla="*/ 2176339 h 4305008"/>
              <a:gd name="connsiteX110" fmla="*/ 4843348 w 5593163"/>
              <a:gd name="connsiteY110" fmla="*/ 2177952 h 4305008"/>
              <a:gd name="connsiteX111" fmla="*/ 4843322 w 5593163"/>
              <a:gd name="connsiteY111" fmla="*/ 2177461 h 4305008"/>
              <a:gd name="connsiteX112" fmla="*/ 4842823 w 5593163"/>
              <a:gd name="connsiteY112" fmla="*/ 2177494 h 4305008"/>
              <a:gd name="connsiteX113" fmla="*/ 4842230 w 5593163"/>
              <a:gd name="connsiteY113" fmla="*/ 2166144 h 4305008"/>
              <a:gd name="connsiteX114" fmla="*/ 4842230 w 5593163"/>
              <a:gd name="connsiteY114" fmla="*/ 3862969 h 4305008"/>
              <a:gd name="connsiteX115" fmla="*/ 4843601 w 5593163"/>
              <a:gd name="connsiteY115" fmla="*/ 3846121 h 4305008"/>
              <a:gd name="connsiteX116" fmla="*/ 4851065 w 5593163"/>
              <a:gd name="connsiteY116" fmla="*/ 3754390 h 4305008"/>
              <a:gd name="connsiteX117" fmla="*/ 4851605 w 5593163"/>
              <a:gd name="connsiteY117" fmla="*/ 3747753 h 4305008"/>
              <a:gd name="connsiteX118" fmla="*/ 4852110 w 5593163"/>
              <a:gd name="connsiteY118" fmla="*/ 3747690 h 4305008"/>
              <a:gd name="connsiteX119" fmla="*/ 5542276 w 5593163"/>
              <a:gd name="connsiteY119" fmla="*/ 3060092 h 4305008"/>
              <a:gd name="connsiteX120" fmla="*/ 5542393 w 5593163"/>
              <a:gd name="connsiteY120" fmla="*/ 3058953 h 4305008"/>
              <a:gd name="connsiteX121" fmla="*/ 5558606 w 5593163"/>
              <a:gd name="connsiteY121" fmla="*/ 3057426 h 4305008"/>
              <a:gd name="connsiteX122" fmla="*/ 5593163 w 5593163"/>
              <a:gd name="connsiteY122" fmla="*/ 3054170 h 4305008"/>
              <a:gd name="connsiteX123" fmla="*/ 5593163 w 5593163"/>
              <a:gd name="connsiteY123" fmla="*/ 3398093 h 4305008"/>
              <a:gd name="connsiteX124" fmla="*/ 5583807 w 5593163"/>
              <a:gd name="connsiteY124" fmla="*/ 3420754 h 4305008"/>
              <a:gd name="connsiteX125" fmla="*/ 4972226 w 5593163"/>
              <a:gd name="connsiteY125" fmla="*/ 3861506 h 4305008"/>
              <a:gd name="connsiteX126" fmla="*/ 4972110 w 5593163"/>
              <a:gd name="connsiteY126" fmla="*/ 3862645 h 4305008"/>
              <a:gd name="connsiteX127" fmla="*/ 4955893 w 5593163"/>
              <a:gd name="connsiteY127" fmla="*/ 3864173 h 4305008"/>
              <a:gd name="connsiteX128" fmla="*/ 4860466 w 5593163"/>
              <a:gd name="connsiteY128" fmla="*/ 3873164 h 4305008"/>
              <a:gd name="connsiteX129" fmla="*/ 4843348 w 5593163"/>
              <a:gd name="connsiteY129" fmla="*/ 3874777 h 4305008"/>
              <a:gd name="connsiteX130" fmla="*/ 4843322 w 5593163"/>
              <a:gd name="connsiteY130" fmla="*/ 3874286 h 4305008"/>
              <a:gd name="connsiteX131" fmla="*/ 4842823 w 5593163"/>
              <a:gd name="connsiteY131" fmla="*/ 3874319 h 4305008"/>
              <a:gd name="connsiteX132" fmla="*/ 4842230 w 5593163"/>
              <a:gd name="connsiteY132" fmla="*/ 3862969 h 4305008"/>
              <a:gd name="connsiteX133" fmla="*/ 4135041 w 5593163"/>
              <a:gd name="connsiteY133" fmla="*/ 1181049 h 4305008"/>
              <a:gd name="connsiteX134" fmla="*/ 4678350 w 5593163"/>
              <a:gd name="connsiteY134" fmla="*/ 636203 h 4305008"/>
              <a:gd name="connsiteX135" fmla="*/ 4135041 w 5593163"/>
              <a:gd name="connsiteY135" fmla="*/ 1181049 h 4305008"/>
              <a:gd name="connsiteX136" fmla="*/ 4135041 w 5593163"/>
              <a:gd name="connsiteY136" fmla="*/ 1493690 h 4305008"/>
              <a:gd name="connsiteX137" fmla="*/ 4678350 w 5593163"/>
              <a:gd name="connsiteY137" fmla="*/ 2034258 h 4305008"/>
              <a:gd name="connsiteX138" fmla="*/ 4135041 w 5593163"/>
              <a:gd name="connsiteY138" fmla="*/ 1493690 h 4305008"/>
              <a:gd name="connsiteX139" fmla="*/ 4135041 w 5593163"/>
              <a:gd name="connsiteY139" fmla="*/ 2877874 h 4305008"/>
              <a:gd name="connsiteX140" fmla="*/ 4678350 w 5593163"/>
              <a:gd name="connsiteY140" fmla="*/ 2333028 h 4305008"/>
              <a:gd name="connsiteX141" fmla="*/ 4135041 w 5593163"/>
              <a:gd name="connsiteY141" fmla="*/ 2877874 h 4305008"/>
              <a:gd name="connsiteX142" fmla="*/ 4135041 w 5593163"/>
              <a:gd name="connsiteY142" fmla="*/ 3190516 h 4305008"/>
              <a:gd name="connsiteX143" fmla="*/ 4678350 w 5593163"/>
              <a:gd name="connsiteY143" fmla="*/ 3731083 h 4305008"/>
              <a:gd name="connsiteX144" fmla="*/ 4135041 w 5593163"/>
              <a:gd name="connsiteY144" fmla="*/ 3190516 h 4305008"/>
              <a:gd name="connsiteX145" fmla="*/ 4103022 w 5593163"/>
              <a:gd name="connsiteY145" fmla="*/ 4305008 h 4305008"/>
              <a:gd name="connsiteX146" fmla="*/ 4131467 w 5593163"/>
              <a:gd name="connsiteY146" fmla="*/ 4255797 h 4305008"/>
              <a:gd name="connsiteX147" fmla="*/ 4691720 w 5593163"/>
              <a:gd name="connsiteY147" fmla="*/ 3898397 h 4305008"/>
              <a:gd name="connsiteX148" fmla="*/ 4691837 w 5593163"/>
              <a:gd name="connsiteY148" fmla="*/ 3897249 h 4305008"/>
              <a:gd name="connsiteX149" fmla="*/ 4708050 w 5593163"/>
              <a:gd name="connsiteY149" fmla="*/ 3895710 h 4305008"/>
              <a:gd name="connsiteX150" fmla="*/ 4803512 w 5593163"/>
              <a:gd name="connsiteY150" fmla="*/ 3886645 h 4305008"/>
              <a:gd name="connsiteX151" fmla="*/ 4820599 w 5593163"/>
              <a:gd name="connsiteY151" fmla="*/ 3885022 h 4305008"/>
              <a:gd name="connsiteX152" fmla="*/ 4820625 w 5593163"/>
              <a:gd name="connsiteY152" fmla="*/ 3885516 h 4305008"/>
              <a:gd name="connsiteX153" fmla="*/ 4821123 w 5593163"/>
              <a:gd name="connsiteY153" fmla="*/ 3885483 h 4305008"/>
              <a:gd name="connsiteX154" fmla="*/ 4821717 w 5593163"/>
              <a:gd name="connsiteY154" fmla="*/ 3896923 h 4305008"/>
              <a:gd name="connsiteX155" fmla="*/ 4820346 w 5593163"/>
              <a:gd name="connsiteY155" fmla="*/ 3913899 h 4305008"/>
              <a:gd name="connsiteX156" fmla="*/ 4812879 w 5593163"/>
              <a:gd name="connsiteY156" fmla="*/ 4006375 h 4305008"/>
              <a:gd name="connsiteX157" fmla="*/ 4812341 w 5593163"/>
              <a:gd name="connsiteY157" fmla="*/ 4013051 h 4305008"/>
              <a:gd name="connsiteX158" fmla="*/ 4811835 w 5593163"/>
              <a:gd name="connsiteY158" fmla="*/ 4013114 h 4305008"/>
              <a:gd name="connsiteX159" fmla="*/ 4736718 w 5593163"/>
              <a:gd name="connsiteY159" fmla="*/ 4254710 h 4305008"/>
              <a:gd name="connsiteX160" fmla="*/ 4706597 w 5593163"/>
              <a:gd name="connsiteY160" fmla="*/ 4305008 h 4305008"/>
              <a:gd name="connsiteX161" fmla="*/ 4552487 w 5593163"/>
              <a:gd name="connsiteY161" fmla="*/ 4305008 h 4305008"/>
              <a:gd name="connsiteX162" fmla="*/ 4579169 w 5593163"/>
              <a:gd name="connsiteY162" fmla="*/ 4271827 h 4305008"/>
              <a:gd name="connsiteX163" fmla="*/ 4678350 w 5593163"/>
              <a:gd name="connsiteY163" fmla="*/ 4029853 h 4305008"/>
              <a:gd name="connsiteX164" fmla="*/ 4306196 w 5593163"/>
              <a:gd name="connsiteY164" fmla="*/ 4241205 h 4305008"/>
              <a:gd name="connsiteX165" fmla="*/ 4254073 w 5593163"/>
              <a:gd name="connsiteY165" fmla="*/ 4305008 h 4305008"/>
              <a:gd name="connsiteX166" fmla="*/ 4068511 w 5593163"/>
              <a:gd name="connsiteY166" fmla="*/ 0 h 4305008"/>
              <a:gd name="connsiteX167" fmla="*/ 4217148 w 5593163"/>
              <a:gd name="connsiteY167" fmla="*/ 0 h 4305008"/>
              <a:gd name="connsiteX168" fmla="*/ 4239376 w 5593163"/>
              <a:gd name="connsiteY168" fmla="*/ 44350 h 4305008"/>
              <a:gd name="connsiteX169" fmla="*/ 4678350 w 5593163"/>
              <a:gd name="connsiteY169" fmla="*/ 337433 h 4305008"/>
              <a:gd name="connsiteX170" fmla="*/ 4564842 w 5593163"/>
              <a:gd name="connsiteY170" fmla="*/ 76659 h 4305008"/>
              <a:gd name="connsiteX171" fmla="*/ 4496615 w 5593163"/>
              <a:gd name="connsiteY171" fmla="*/ 0 h 4305008"/>
              <a:gd name="connsiteX172" fmla="*/ 4664989 w 5593163"/>
              <a:gd name="connsiteY172" fmla="*/ 0 h 4305008"/>
              <a:gd name="connsiteX173" fmla="*/ 4727623 w 5593163"/>
              <a:gd name="connsiteY173" fmla="*/ 96778 h 4305008"/>
              <a:gd name="connsiteX174" fmla="*/ 4811836 w 5593163"/>
              <a:gd name="connsiteY174" fmla="*/ 354040 h 4305008"/>
              <a:gd name="connsiteX175" fmla="*/ 4812342 w 5593163"/>
              <a:gd name="connsiteY175" fmla="*/ 354103 h 4305008"/>
              <a:gd name="connsiteX176" fmla="*/ 4812882 w 5593163"/>
              <a:gd name="connsiteY176" fmla="*/ 360740 h 4305008"/>
              <a:gd name="connsiteX177" fmla="*/ 4820346 w 5593163"/>
              <a:gd name="connsiteY177" fmla="*/ 452471 h 4305008"/>
              <a:gd name="connsiteX178" fmla="*/ 4821717 w 5593163"/>
              <a:gd name="connsiteY178" fmla="*/ 469318 h 4305008"/>
              <a:gd name="connsiteX179" fmla="*/ 4821124 w 5593163"/>
              <a:gd name="connsiteY179" fmla="*/ 480669 h 4305008"/>
              <a:gd name="connsiteX180" fmla="*/ 4820625 w 5593163"/>
              <a:gd name="connsiteY180" fmla="*/ 480636 h 4305008"/>
              <a:gd name="connsiteX181" fmla="*/ 4820599 w 5593163"/>
              <a:gd name="connsiteY181" fmla="*/ 481127 h 4305008"/>
              <a:gd name="connsiteX182" fmla="*/ 4803481 w 5593163"/>
              <a:gd name="connsiteY182" fmla="*/ 479514 h 4305008"/>
              <a:gd name="connsiteX183" fmla="*/ 4708054 w 5593163"/>
              <a:gd name="connsiteY183" fmla="*/ 470523 h 4305008"/>
              <a:gd name="connsiteX184" fmla="*/ 4691837 w 5593163"/>
              <a:gd name="connsiteY184" fmla="*/ 468995 h 4305008"/>
              <a:gd name="connsiteX185" fmla="*/ 4691721 w 5593163"/>
              <a:gd name="connsiteY185" fmla="*/ 467856 h 4305008"/>
              <a:gd name="connsiteX186" fmla="*/ 4120350 w 5593163"/>
              <a:gd name="connsiteY186" fmla="*/ 95636 h 4305008"/>
              <a:gd name="connsiteX187" fmla="*/ 3991674 w 5593163"/>
              <a:gd name="connsiteY187" fmla="*/ 1313979 h 4305008"/>
              <a:gd name="connsiteX188" fmla="*/ 3993045 w 5593163"/>
              <a:gd name="connsiteY188" fmla="*/ 1296998 h 4305008"/>
              <a:gd name="connsiteX189" fmla="*/ 4000509 w 5593163"/>
              <a:gd name="connsiteY189" fmla="*/ 1204541 h 4305008"/>
              <a:gd name="connsiteX190" fmla="*/ 4001049 w 5593163"/>
              <a:gd name="connsiteY190" fmla="*/ 1197851 h 4305008"/>
              <a:gd name="connsiteX191" fmla="*/ 4001555 w 5593163"/>
              <a:gd name="connsiteY191" fmla="*/ 1197788 h 4305008"/>
              <a:gd name="connsiteX192" fmla="*/ 4691720 w 5593163"/>
              <a:gd name="connsiteY192" fmla="*/ 504747 h 4305008"/>
              <a:gd name="connsiteX193" fmla="*/ 4691837 w 5593163"/>
              <a:gd name="connsiteY193" fmla="*/ 503599 h 4305008"/>
              <a:gd name="connsiteX194" fmla="*/ 4708050 w 5593163"/>
              <a:gd name="connsiteY194" fmla="*/ 502060 h 4305008"/>
              <a:gd name="connsiteX195" fmla="*/ 4803512 w 5593163"/>
              <a:gd name="connsiteY195" fmla="*/ 492995 h 4305008"/>
              <a:gd name="connsiteX196" fmla="*/ 4820599 w 5593163"/>
              <a:gd name="connsiteY196" fmla="*/ 491372 h 4305008"/>
              <a:gd name="connsiteX197" fmla="*/ 4820625 w 5593163"/>
              <a:gd name="connsiteY197" fmla="*/ 491866 h 4305008"/>
              <a:gd name="connsiteX198" fmla="*/ 4821123 w 5593163"/>
              <a:gd name="connsiteY198" fmla="*/ 491833 h 4305008"/>
              <a:gd name="connsiteX199" fmla="*/ 4821717 w 5593163"/>
              <a:gd name="connsiteY199" fmla="*/ 503273 h 4305008"/>
              <a:gd name="connsiteX200" fmla="*/ 4820346 w 5593163"/>
              <a:gd name="connsiteY200" fmla="*/ 520249 h 4305008"/>
              <a:gd name="connsiteX201" fmla="*/ 4812879 w 5593163"/>
              <a:gd name="connsiteY201" fmla="*/ 612725 h 4305008"/>
              <a:gd name="connsiteX202" fmla="*/ 4812341 w 5593163"/>
              <a:gd name="connsiteY202" fmla="*/ 619401 h 4305008"/>
              <a:gd name="connsiteX203" fmla="*/ 4811835 w 5593163"/>
              <a:gd name="connsiteY203" fmla="*/ 619464 h 4305008"/>
              <a:gd name="connsiteX204" fmla="*/ 4121670 w 5593163"/>
              <a:gd name="connsiteY204" fmla="*/ 1312505 h 4305008"/>
              <a:gd name="connsiteX205" fmla="*/ 4121554 w 5593163"/>
              <a:gd name="connsiteY205" fmla="*/ 1313653 h 4305008"/>
              <a:gd name="connsiteX206" fmla="*/ 4105337 w 5593163"/>
              <a:gd name="connsiteY206" fmla="*/ 1315193 h 4305008"/>
              <a:gd name="connsiteX207" fmla="*/ 4009911 w 5593163"/>
              <a:gd name="connsiteY207" fmla="*/ 1324255 h 4305008"/>
              <a:gd name="connsiteX208" fmla="*/ 3992792 w 5593163"/>
              <a:gd name="connsiteY208" fmla="*/ 1325881 h 4305008"/>
              <a:gd name="connsiteX209" fmla="*/ 3992766 w 5593163"/>
              <a:gd name="connsiteY209" fmla="*/ 1325386 h 4305008"/>
              <a:gd name="connsiteX210" fmla="*/ 3992267 w 5593163"/>
              <a:gd name="connsiteY210" fmla="*/ 1325419 h 4305008"/>
              <a:gd name="connsiteX211" fmla="*/ 3991674 w 5593163"/>
              <a:gd name="connsiteY211" fmla="*/ 1313979 h 4305008"/>
              <a:gd name="connsiteX212" fmla="*/ 3991674 w 5593163"/>
              <a:gd name="connsiteY212" fmla="*/ 1361805 h 4305008"/>
              <a:gd name="connsiteX213" fmla="*/ 3992268 w 5593163"/>
              <a:gd name="connsiteY213" fmla="*/ 1350455 h 4305008"/>
              <a:gd name="connsiteX214" fmla="*/ 3992766 w 5593163"/>
              <a:gd name="connsiteY214" fmla="*/ 1350487 h 4305008"/>
              <a:gd name="connsiteX215" fmla="*/ 3992792 w 5593163"/>
              <a:gd name="connsiteY215" fmla="*/ 1349997 h 4305008"/>
              <a:gd name="connsiteX216" fmla="*/ 4009880 w 5593163"/>
              <a:gd name="connsiteY216" fmla="*/ 1351607 h 4305008"/>
              <a:gd name="connsiteX217" fmla="*/ 4105341 w 5593163"/>
              <a:gd name="connsiteY217" fmla="*/ 1360601 h 4305008"/>
              <a:gd name="connsiteX218" fmla="*/ 4121554 w 5593163"/>
              <a:gd name="connsiteY218" fmla="*/ 1362128 h 4305008"/>
              <a:gd name="connsiteX219" fmla="*/ 4121671 w 5593163"/>
              <a:gd name="connsiteY219" fmla="*/ 1363267 h 4305008"/>
              <a:gd name="connsiteX220" fmla="*/ 4811836 w 5593163"/>
              <a:gd name="connsiteY220" fmla="*/ 2050865 h 4305008"/>
              <a:gd name="connsiteX221" fmla="*/ 4812342 w 5593163"/>
              <a:gd name="connsiteY221" fmla="*/ 2050928 h 4305008"/>
              <a:gd name="connsiteX222" fmla="*/ 4812882 w 5593163"/>
              <a:gd name="connsiteY222" fmla="*/ 2057565 h 4305008"/>
              <a:gd name="connsiteX223" fmla="*/ 4820346 w 5593163"/>
              <a:gd name="connsiteY223" fmla="*/ 2149296 h 4305008"/>
              <a:gd name="connsiteX224" fmla="*/ 4821717 w 5593163"/>
              <a:gd name="connsiteY224" fmla="*/ 2166144 h 4305008"/>
              <a:gd name="connsiteX225" fmla="*/ 4821124 w 5593163"/>
              <a:gd name="connsiteY225" fmla="*/ 2177494 h 4305008"/>
              <a:gd name="connsiteX226" fmla="*/ 4820625 w 5593163"/>
              <a:gd name="connsiteY226" fmla="*/ 2177461 h 4305008"/>
              <a:gd name="connsiteX227" fmla="*/ 4820599 w 5593163"/>
              <a:gd name="connsiteY227" fmla="*/ 2177952 h 4305008"/>
              <a:gd name="connsiteX228" fmla="*/ 4803481 w 5593163"/>
              <a:gd name="connsiteY228" fmla="*/ 2176339 h 4305008"/>
              <a:gd name="connsiteX229" fmla="*/ 4708054 w 5593163"/>
              <a:gd name="connsiteY229" fmla="*/ 2167348 h 4305008"/>
              <a:gd name="connsiteX230" fmla="*/ 4691837 w 5593163"/>
              <a:gd name="connsiteY230" fmla="*/ 2165820 h 4305008"/>
              <a:gd name="connsiteX231" fmla="*/ 4691721 w 5593163"/>
              <a:gd name="connsiteY231" fmla="*/ 2164681 h 4305008"/>
              <a:gd name="connsiteX232" fmla="*/ 4001556 w 5593163"/>
              <a:gd name="connsiteY232" fmla="*/ 1477083 h 4305008"/>
              <a:gd name="connsiteX233" fmla="*/ 4001050 w 5593163"/>
              <a:gd name="connsiteY233" fmla="*/ 1477021 h 4305008"/>
              <a:gd name="connsiteX234" fmla="*/ 4000512 w 5593163"/>
              <a:gd name="connsiteY234" fmla="*/ 1470397 h 4305008"/>
              <a:gd name="connsiteX235" fmla="*/ 3993045 w 5593163"/>
              <a:gd name="connsiteY235" fmla="*/ 1378647 h 4305008"/>
              <a:gd name="connsiteX236" fmla="*/ 3991674 w 5593163"/>
              <a:gd name="connsiteY236" fmla="*/ 1361805 h 4305008"/>
              <a:gd name="connsiteX237" fmla="*/ 3991674 w 5593163"/>
              <a:gd name="connsiteY237" fmla="*/ 3010804 h 4305008"/>
              <a:gd name="connsiteX238" fmla="*/ 3993045 w 5593163"/>
              <a:gd name="connsiteY238" fmla="*/ 2993823 h 4305008"/>
              <a:gd name="connsiteX239" fmla="*/ 4000509 w 5593163"/>
              <a:gd name="connsiteY239" fmla="*/ 2901366 h 4305008"/>
              <a:gd name="connsiteX240" fmla="*/ 4001049 w 5593163"/>
              <a:gd name="connsiteY240" fmla="*/ 2894676 h 4305008"/>
              <a:gd name="connsiteX241" fmla="*/ 4001555 w 5593163"/>
              <a:gd name="connsiteY241" fmla="*/ 2894613 h 4305008"/>
              <a:gd name="connsiteX242" fmla="*/ 4691720 w 5593163"/>
              <a:gd name="connsiteY242" fmla="*/ 2201572 h 4305008"/>
              <a:gd name="connsiteX243" fmla="*/ 4691837 w 5593163"/>
              <a:gd name="connsiteY243" fmla="*/ 2200424 h 4305008"/>
              <a:gd name="connsiteX244" fmla="*/ 4708050 w 5593163"/>
              <a:gd name="connsiteY244" fmla="*/ 2198885 h 4305008"/>
              <a:gd name="connsiteX245" fmla="*/ 4803512 w 5593163"/>
              <a:gd name="connsiteY245" fmla="*/ 2189820 h 4305008"/>
              <a:gd name="connsiteX246" fmla="*/ 4820599 w 5593163"/>
              <a:gd name="connsiteY246" fmla="*/ 2188197 h 4305008"/>
              <a:gd name="connsiteX247" fmla="*/ 4820625 w 5593163"/>
              <a:gd name="connsiteY247" fmla="*/ 2188691 h 4305008"/>
              <a:gd name="connsiteX248" fmla="*/ 4821123 w 5593163"/>
              <a:gd name="connsiteY248" fmla="*/ 2188658 h 4305008"/>
              <a:gd name="connsiteX249" fmla="*/ 4821717 w 5593163"/>
              <a:gd name="connsiteY249" fmla="*/ 2200098 h 4305008"/>
              <a:gd name="connsiteX250" fmla="*/ 4820346 w 5593163"/>
              <a:gd name="connsiteY250" fmla="*/ 2217074 h 4305008"/>
              <a:gd name="connsiteX251" fmla="*/ 4812879 w 5593163"/>
              <a:gd name="connsiteY251" fmla="*/ 2309550 h 4305008"/>
              <a:gd name="connsiteX252" fmla="*/ 4812341 w 5593163"/>
              <a:gd name="connsiteY252" fmla="*/ 2316226 h 4305008"/>
              <a:gd name="connsiteX253" fmla="*/ 4811835 w 5593163"/>
              <a:gd name="connsiteY253" fmla="*/ 2316289 h 4305008"/>
              <a:gd name="connsiteX254" fmla="*/ 4121670 w 5593163"/>
              <a:gd name="connsiteY254" fmla="*/ 3009330 h 4305008"/>
              <a:gd name="connsiteX255" fmla="*/ 4121554 w 5593163"/>
              <a:gd name="connsiteY255" fmla="*/ 3010478 h 4305008"/>
              <a:gd name="connsiteX256" fmla="*/ 4105337 w 5593163"/>
              <a:gd name="connsiteY256" fmla="*/ 3012018 h 4305008"/>
              <a:gd name="connsiteX257" fmla="*/ 4009911 w 5593163"/>
              <a:gd name="connsiteY257" fmla="*/ 3021080 h 4305008"/>
              <a:gd name="connsiteX258" fmla="*/ 3992792 w 5593163"/>
              <a:gd name="connsiteY258" fmla="*/ 3022706 h 4305008"/>
              <a:gd name="connsiteX259" fmla="*/ 3992766 w 5593163"/>
              <a:gd name="connsiteY259" fmla="*/ 3022211 h 4305008"/>
              <a:gd name="connsiteX260" fmla="*/ 3992267 w 5593163"/>
              <a:gd name="connsiteY260" fmla="*/ 3022244 h 4305008"/>
              <a:gd name="connsiteX261" fmla="*/ 3991674 w 5593163"/>
              <a:gd name="connsiteY261" fmla="*/ 3010804 h 4305008"/>
              <a:gd name="connsiteX262" fmla="*/ 3991674 w 5593163"/>
              <a:gd name="connsiteY262" fmla="*/ 3058630 h 4305008"/>
              <a:gd name="connsiteX263" fmla="*/ 3992268 w 5593163"/>
              <a:gd name="connsiteY263" fmla="*/ 3047280 h 4305008"/>
              <a:gd name="connsiteX264" fmla="*/ 3992766 w 5593163"/>
              <a:gd name="connsiteY264" fmla="*/ 3047312 h 4305008"/>
              <a:gd name="connsiteX265" fmla="*/ 3992792 w 5593163"/>
              <a:gd name="connsiteY265" fmla="*/ 3046822 h 4305008"/>
              <a:gd name="connsiteX266" fmla="*/ 4009880 w 5593163"/>
              <a:gd name="connsiteY266" fmla="*/ 3048432 h 4305008"/>
              <a:gd name="connsiteX267" fmla="*/ 4105341 w 5593163"/>
              <a:gd name="connsiteY267" fmla="*/ 3057426 h 4305008"/>
              <a:gd name="connsiteX268" fmla="*/ 4121554 w 5593163"/>
              <a:gd name="connsiteY268" fmla="*/ 3058953 h 4305008"/>
              <a:gd name="connsiteX269" fmla="*/ 4121671 w 5593163"/>
              <a:gd name="connsiteY269" fmla="*/ 3060092 h 4305008"/>
              <a:gd name="connsiteX270" fmla="*/ 4811836 w 5593163"/>
              <a:gd name="connsiteY270" fmla="*/ 3747690 h 4305008"/>
              <a:gd name="connsiteX271" fmla="*/ 4812342 w 5593163"/>
              <a:gd name="connsiteY271" fmla="*/ 3747753 h 4305008"/>
              <a:gd name="connsiteX272" fmla="*/ 4812882 w 5593163"/>
              <a:gd name="connsiteY272" fmla="*/ 3754390 h 4305008"/>
              <a:gd name="connsiteX273" fmla="*/ 4820346 w 5593163"/>
              <a:gd name="connsiteY273" fmla="*/ 3846121 h 4305008"/>
              <a:gd name="connsiteX274" fmla="*/ 4821717 w 5593163"/>
              <a:gd name="connsiteY274" fmla="*/ 3862969 h 4305008"/>
              <a:gd name="connsiteX275" fmla="*/ 4821124 w 5593163"/>
              <a:gd name="connsiteY275" fmla="*/ 3874319 h 4305008"/>
              <a:gd name="connsiteX276" fmla="*/ 4820625 w 5593163"/>
              <a:gd name="connsiteY276" fmla="*/ 3874286 h 4305008"/>
              <a:gd name="connsiteX277" fmla="*/ 4820599 w 5593163"/>
              <a:gd name="connsiteY277" fmla="*/ 3874777 h 4305008"/>
              <a:gd name="connsiteX278" fmla="*/ 4803481 w 5593163"/>
              <a:gd name="connsiteY278" fmla="*/ 3873164 h 4305008"/>
              <a:gd name="connsiteX279" fmla="*/ 4708054 w 5593163"/>
              <a:gd name="connsiteY279" fmla="*/ 3864173 h 4305008"/>
              <a:gd name="connsiteX280" fmla="*/ 4691837 w 5593163"/>
              <a:gd name="connsiteY280" fmla="*/ 3862645 h 4305008"/>
              <a:gd name="connsiteX281" fmla="*/ 4691721 w 5593163"/>
              <a:gd name="connsiteY281" fmla="*/ 3861506 h 4305008"/>
              <a:gd name="connsiteX282" fmla="*/ 4001556 w 5593163"/>
              <a:gd name="connsiteY282" fmla="*/ 3173908 h 4305008"/>
              <a:gd name="connsiteX283" fmla="*/ 4001050 w 5593163"/>
              <a:gd name="connsiteY283" fmla="*/ 3173846 h 4305008"/>
              <a:gd name="connsiteX284" fmla="*/ 4000512 w 5593163"/>
              <a:gd name="connsiteY284" fmla="*/ 3167222 h 4305008"/>
              <a:gd name="connsiteX285" fmla="*/ 3993045 w 5593163"/>
              <a:gd name="connsiteY285" fmla="*/ 3075472 h 4305008"/>
              <a:gd name="connsiteX286" fmla="*/ 3991674 w 5593163"/>
              <a:gd name="connsiteY286" fmla="*/ 3058630 h 4305008"/>
              <a:gd name="connsiteX287" fmla="*/ 3293448 w 5593163"/>
              <a:gd name="connsiteY287" fmla="*/ 636203 h 4305008"/>
              <a:gd name="connsiteX288" fmla="*/ 3836757 w 5593163"/>
              <a:gd name="connsiteY288" fmla="*/ 1181049 h 4305008"/>
              <a:gd name="connsiteX289" fmla="*/ 3293448 w 5593163"/>
              <a:gd name="connsiteY289" fmla="*/ 636203 h 4305008"/>
              <a:gd name="connsiteX290" fmla="*/ 3293448 w 5593163"/>
              <a:gd name="connsiteY290" fmla="*/ 2333028 h 4305008"/>
              <a:gd name="connsiteX291" fmla="*/ 3836757 w 5593163"/>
              <a:gd name="connsiteY291" fmla="*/ 2877874 h 4305008"/>
              <a:gd name="connsiteX292" fmla="*/ 3293448 w 5593163"/>
              <a:gd name="connsiteY292" fmla="*/ 2333028 h 4305008"/>
              <a:gd name="connsiteX293" fmla="*/ 3293446 w 5593163"/>
              <a:gd name="connsiteY293" fmla="*/ 2034258 h 4305008"/>
              <a:gd name="connsiteX294" fmla="*/ 3836755 w 5593163"/>
              <a:gd name="connsiteY294" fmla="*/ 1493690 h 4305008"/>
              <a:gd name="connsiteX295" fmla="*/ 3293446 w 5593163"/>
              <a:gd name="connsiteY295" fmla="*/ 2034258 h 4305008"/>
              <a:gd name="connsiteX296" fmla="*/ 3293446 w 5593163"/>
              <a:gd name="connsiteY296" fmla="*/ 3731083 h 4305008"/>
              <a:gd name="connsiteX297" fmla="*/ 3836755 w 5593163"/>
              <a:gd name="connsiteY297" fmla="*/ 3190516 h 4305008"/>
              <a:gd name="connsiteX298" fmla="*/ 3293446 w 5593163"/>
              <a:gd name="connsiteY298" fmla="*/ 3731083 h 4305008"/>
              <a:gd name="connsiteX299" fmla="*/ 3150081 w 5593163"/>
              <a:gd name="connsiteY299" fmla="*/ 503273 h 4305008"/>
              <a:gd name="connsiteX300" fmla="*/ 3150675 w 5593163"/>
              <a:gd name="connsiteY300" fmla="*/ 491833 h 4305008"/>
              <a:gd name="connsiteX301" fmla="*/ 3151173 w 5593163"/>
              <a:gd name="connsiteY301" fmla="*/ 491866 h 4305008"/>
              <a:gd name="connsiteX302" fmla="*/ 3151199 w 5593163"/>
              <a:gd name="connsiteY302" fmla="*/ 491372 h 4305008"/>
              <a:gd name="connsiteX303" fmla="*/ 3168287 w 5593163"/>
              <a:gd name="connsiteY303" fmla="*/ 492995 h 4305008"/>
              <a:gd name="connsiteX304" fmla="*/ 3263748 w 5593163"/>
              <a:gd name="connsiteY304" fmla="*/ 502060 h 4305008"/>
              <a:gd name="connsiteX305" fmla="*/ 3279961 w 5593163"/>
              <a:gd name="connsiteY305" fmla="*/ 503599 h 4305008"/>
              <a:gd name="connsiteX306" fmla="*/ 3280078 w 5593163"/>
              <a:gd name="connsiteY306" fmla="*/ 504747 h 4305008"/>
              <a:gd name="connsiteX307" fmla="*/ 3970244 w 5593163"/>
              <a:gd name="connsiteY307" fmla="*/ 1197788 h 4305008"/>
              <a:gd name="connsiteX308" fmla="*/ 3970749 w 5593163"/>
              <a:gd name="connsiteY308" fmla="*/ 1197851 h 4305008"/>
              <a:gd name="connsiteX309" fmla="*/ 3971290 w 5593163"/>
              <a:gd name="connsiteY309" fmla="*/ 1204541 h 4305008"/>
              <a:gd name="connsiteX310" fmla="*/ 3978754 w 5593163"/>
              <a:gd name="connsiteY310" fmla="*/ 1296998 h 4305008"/>
              <a:gd name="connsiteX311" fmla="*/ 3980124 w 5593163"/>
              <a:gd name="connsiteY311" fmla="*/ 1313979 h 4305008"/>
              <a:gd name="connsiteX312" fmla="*/ 3979531 w 5593163"/>
              <a:gd name="connsiteY312" fmla="*/ 1325419 h 4305008"/>
              <a:gd name="connsiteX313" fmla="*/ 3979032 w 5593163"/>
              <a:gd name="connsiteY313" fmla="*/ 1325386 h 4305008"/>
              <a:gd name="connsiteX314" fmla="*/ 3979006 w 5593163"/>
              <a:gd name="connsiteY314" fmla="*/ 1325881 h 4305008"/>
              <a:gd name="connsiteX315" fmla="*/ 3961888 w 5593163"/>
              <a:gd name="connsiteY315" fmla="*/ 1324255 h 4305008"/>
              <a:gd name="connsiteX316" fmla="*/ 3866461 w 5593163"/>
              <a:gd name="connsiteY316" fmla="*/ 1315193 h 4305008"/>
              <a:gd name="connsiteX317" fmla="*/ 3850245 w 5593163"/>
              <a:gd name="connsiteY317" fmla="*/ 1313653 h 4305008"/>
              <a:gd name="connsiteX318" fmla="*/ 3850129 w 5593163"/>
              <a:gd name="connsiteY318" fmla="*/ 1312505 h 4305008"/>
              <a:gd name="connsiteX319" fmla="*/ 3159963 w 5593163"/>
              <a:gd name="connsiteY319" fmla="*/ 619464 h 4305008"/>
              <a:gd name="connsiteX320" fmla="*/ 3159457 w 5593163"/>
              <a:gd name="connsiteY320" fmla="*/ 619401 h 4305008"/>
              <a:gd name="connsiteX321" fmla="*/ 3158919 w 5593163"/>
              <a:gd name="connsiteY321" fmla="*/ 612725 h 4305008"/>
              <a:gd name="connsiteX322" fmla="*/ 3151452 w 5593163"/>
              <a:gd name="connsiteY322" fmla="*/ 520249 h 4305008"/>
              <a:gd name="connsiteX323" fmla="*/ 3150081 w 5593163"/>
              <a:gd name="connsiteY323" fmla="*/ 503273 h 4305008"/>
              <a:gd name="connsiteX324" fmla="*/ 3150081 w 5593163"/>
              <a:gd name="connsiteY324" fmla="*/ 2200098 h 4305008"/>
              <a:gd name="connsiteX325" fmla="*/ 3150675 w 5593163"/>
              <a:gd name="connsiteY325" fmla="*/ 2188658 h 4305008"/>
              <a:gd name="connsiteX326" fmla="*/ 3151173 w 5593163"/>
              <a:gd name="connsiteY326" fmla="*/ 2188691 h 4305008"/>
              <a:gd name="connsiteX327" fmla="*/ 3151199 w 5593163"/>
              <a:gd name="connsiteY327" fmla="*/ 2188197 h 4305008"/>
              <a:gd name="connsiteX328" fmla="*/ 3168287 w 5593163"/>
              <a:gd name="connsiteY328" fmla="*/ 2189820 h 4305008"/>
              <a:gd name="connsiteX329" fmla="*/ 3263748 w 5593163"/>
              <a:gd name="connsiteY329" fmla="*/ 2198885 h 4305008"/>
              <a:gd name="connsiteX330" fmla="*/ 3279961 w 5593163"/>
              <a:gd name="connsiteY330" fmla="*/ 2200424 h 4305008"/>
              <a:gd name="connsiteX331" fmla="*/ 3280078 w 5593163"/>
              <a:gd name="connsiteY331" fmla="*/ 2201572 h 4305008"/>
              <a:gd name="connsiteX332" fmla="*/ 3970244 w 5593163"/>
              <a:gd name="connsiteY332" fmla="*/ 2894613 h 4305008"/>
              <a:gd name="connsiteX333" fmla="*/ 3970749 w 5593163"/>
              <a:gd name="connsiteY333" fmla="*/ 2894676 h 4305008"/>
              <a:gd name="connsiteX334" fmla="*/ 3971290 w 5593163"/>
              <a:gd name="connsiteY334" fmla="*/ 2901366 h 4305008"/>
              <a:gd name="connsiteX335" fmla="*/ 3978754 w 5593163"/>
              <a:gd name="connsiteY335" fmla="*/ 2993823 h 4305008"/>
              <a:gd name="connsiteX336" fmla="*/ 3980124 w 5593163"/>
              <a:gd name="connsiteY336" fmla="*/ 3010804 h 4305008"/>
              <a:gd name="connsiteX337" fmla="*/ 3979531 w 5593163"/>
              <a:gd name="connsiteY337" fmla="*/ 3022244 h 4305008"/>
              <a:gd name="connsiteX338" fmla="*/ 3979032 w 5593163"/>
              <a:gd name="connsiteY338" fmla="*/ 3022211 h 4305008"/>
              <a:gd name="connsiteX339" fmla="*/ 3979006 w 5593163"/>
              <a:gd name="connsiteY339" fmla="*/ 3022706 h 4305008"/>
              <a:gd name="connsiteX340" fmla="*/ 3961888 w 5593163"/>
              <a:gd name="connsiteY340" fmla="*/ 3021080 h 4305008"/>
              <a:gd name="connsiteX341" fmla="*/ 3866461 w 5593163"/>
              <a:gd name="connsiteY341" fmla="*/ 3012018 h 4305008"/>
              <a:gd name="connsiteX342" fmla="*/ 3850245 w 5593163"/>
              <a:gd name="connsiteY342" fmla="*/ 3010478 h 4305008"/>
              <a:gd name="connsiteX343" fmla="*/ 3850129 w 5593163"/>
              <a:gd name="connsiteY343" fmla="*/ 3009330 h 4305008"/>
              <a:gd name="connsiteX344" fmla="*/ 3159963 w 5593163"/>
              <a:gd name="connsiteY344" fmla="*/ 2316289 h 4305008"/>
              <a:gd name="connsiteX345" fmla="*/ 3159457 w 5593163"/>
              <a:gd name="connsiteY345" fmla="*/ 2316226 h 4305008"/>
              <a:gd name="connsiteX346" fmla="*/ 3158919 w 5593163"/>
              <a:gd name="connsiteY346" fmla="*/ 2309550 h 4305008"/>
              <a:gd name="connsiteX347" fmla="*/ 3151452 w 5593163"/>
              <a:gd name="connsiteY347" fmla="*/ 2217074 h 4305008"/>
              <a:gd name="connsiteX348" fmla="*/ 3150081 w 5593163"/>
              <a:gd name="connsiteY348" fmla="*/ 2200098 h 4305008"/>
              <a:gd name="connsiteX349" fmla="*/ 3150081 w 5593163"/>
              <a:gd name="connsiteY349" fmla="*/ 3896923 h 4305008"/>
              <a:gd name="connsiteX350" fmla="*/ 3150675 w 5593163"/>
              <a:gd name="connsiteY350" fmla="*/ 3885483 h 4305008"/>
              <a:gd name="connsiteX351" fmla="*/ 3151173 w 5593163"/>
              <a:gd name="connsiteY351" fmla="*/ 3885516 h 4305008"/>
              <a:gd name="connsiteX352" fmla="*/ 3151199 w 5593163"/>
              <a:gd name="connsiteY352" fmla="*/ 3885022 h 4305008"/>
              <a:gd name="connsiteX353" fmla="*/ 3168287 w 5593163"/>
              <a:gd name="connsiteY353" fmla="*/ 3886645 h 4305008"/>
              <a:gd name="connsiteX354" fmla="*/ 3263748 w 5593163"/>
              <a:gd name="connsiteY354" fmla="*/ 3895710 h 4305008"/>
              <a:gd name="connsiteX355" fmla="*/ 3279961 w 5593163"/>
              <a:gd name="connsiteY355" fmla="*/ 3897249 h 4305008"/>
              <a:gd name="connsiteX356" fmla="*/ 3280078 w 5593163"/>
              <a:gd name="connsiteY356" fmla="*/ 3898397 h 4305008"/>
              <a:gd name="connsiteX357" fmla="*/ 3840331 w 5593163"/>
              <a:gd name="connsiteY357" fmla="*/ 4255797 h 4305008"/>
              <a:gd name="connsiteX358" fmla="*/ 3868775 w 5593163"/>
              <a:gd name="connsiteY358" fmla="*/ 4305008 h 4305008"/>
              <a:gd name="connsiteX359" fmla="*/ 3717725 w 5593163"/>
              <a:gd name="connsiteY359" fmla="*/ 4305008 h 4305008"/>
              <a:gd name="connsiteX360" fmla="*/ 3665602 w 5593163"/>
              <a:gd name="connsiteY360" fmla="*/ 4241205 h 4305008"/>
              <a:gd name="connsiteX361" fmla="*/ 3293448 w 5593163"/>
              <a:gd name="connsiteY361" fmla="*/ 4029853 h 4305008"/>
              <a:gd name="connsiteX362" fmla="*/ 3392629 w 5593163"/>
              <a:gd name="connsiteY362" fmla="*/ 4271827 h 4305008"/>
              <a:gd name="connsiteX363" fmla="*/ 3419311 w 5593163"/>
              <a:gd name="connsiteY363" fmla="*/ 4305008 h 4305008"/>
              <a:gd name="connsiteX364" fmla="*/ 3265201 w 5593163"/>
              <a:gd name="connsiteY364" fmla="*/ 4305008 h 4305008"/>
              <a:gd name="connsiteX365" fmla="*/ 3235080 w 5593163"/>
              <a:gd name="connsiteY365" fmla="*/ 4254710 h 4305008"/>
              <a:gd name="connsiteX366" fmla="*/ 3159963 w 5593163"/>
              <a:gd name="connsiteY366" fmla="*/ 4013114 h 4305008"/>
              <a:gd name="connsiteX367" fmla="*/ 3159457 w 5593163"/>
              <a:gd name="connsiteY367" fmla="*/ 4013051 h 4305008"/>
              <a:gd name="connsiteX368" fmla="*/ 3158919 w 5593163"/>
              <a:gd name="connsiteY368" fmla="*/ 4006375 h 4305008"/>
              <a:gd name="connsiteX369" fmla="*/ 3151452 w 5593163"/>
              <a:gd name="connsiteY369" fmla="*/ 3913899 h 4305008"/>
              <a:gd name="connsiteX370" fmla="*/ 3150081 w 5593163"/>
              <a:gd name="connsiteY370" fmla="*/ 3896923 h 4305008"/>
              <a:gd name="connsiteX371" fmla="*/ 3150079 w 5593163"/>
              <a:gd name="connsiteY371" fmla="*/ 469318 h 4305008"/>
              <a:gd name="connsiteX372" fmla="*/ 3151450 w 5593163"/>
              <a:gd name="connsiteY372" fmla="*/ 452471 h 4305008"/>
              <a:gd name="connsiteX373" fmla="*/ 3158914 w 5593163"/>
              <a:gd name="connsiteY373" fmla="*/ 360740 h 4305008"/>
              <a:gd name="connsiteX374" fmla="*/ 3159454 w 5593163"/>
              <a:gd name="connsiteY374" fmla="*/ 354103 h 4305008"/>
              <a:gd name="connsiteX375" fmla="*/ 3159960 w 5593163"/>
              <a:gd name="connsiteY375" fmla="*/ 354040 h 4305008"/>
              <a:gd name="connsiteX376" fmla="*/ 3244173 w 5593163"/>
              <a:gd name="connsiteY376" fmla="*/ 96778 h 4305008"/>
              <a:gd name="connsiteX377" fmla="*/ 3306807 w 5593163"/>
              <a:gd name="connsiteY377" fmla="*/ 0 h 4305008"/>
              <a:gd name="connsiteX378" fmla="*/ 3475182 w 5593163"/>
              <a:gd name="connsiteY378" fmla="*/ 0 h 4305008"/>
              <a:gd name="connsiteX379" fmla="*/ 3406954 w 5593163"/>
              <a:gd name="connsiteY379" fmla="*/ 76659 h 4305008"/>
              <a:gd name="connsiteX380" fmla="*/ 3293446 w 5593163"/>
              <a:gd name="connsiteY380" fmla="*/ 337433 h 4305008"/>
              <a:gd name="connsiteX381" fmla="*/ 3732420 w 5593163"/>
              <a:gd name="connsiteY381" fmla="*/ 44350 h 4305008"/>
              <a:gd name="connsiteX382" fmla="*/ 3754649 w 5593163"/>
              <a:gd name="connsiteY382" fmla="*/ 0 h 4305008"/>
              <a:gd name="connsiteX383" fmla="*/ 3903287 w 5593163"/>
              <a:gd name="connsiteY383" fmla="*/ 0 h 4305008"/>
              <a:gd name="connsiteX384" fmla="*/ 3851448 w 5593163"/>
              <a:gd name="connsiteY384" fmla="*/ 95636 h 4305008"/>
              <a:gd name="connsiteX385" fmla="*/ 3280075 w 5593163"/>
              <a:gd name="connsiteY385" fmla="*/ 467856 h 4305008"/>
              <a:gd name="connsiteX386" fmla="*/ 3279959 w 5593163"/>
              <a:gd name="connsiteY386" fmla="*/ 468995 h 4305008"/>
              <a:gd name="connsiteX387" fmla="*/ 3263742 w 5593163"/>
              <a:gd name="connsiteY387" fmla="*/ 470523 h 4305008"/>
              <a:gd name="connsiteX388" fmla="*/ 3168316 w 5593163"/>
              <a:gd name="connsiteY388" fmla="*/ 479514 h 4305008"/>
              <a:gd name="connsiteX389" fmla="*/ 3151197 w 5593163"/>
              <a:gd name="connsiteY389" fmla="*/ 481127 h 4305008"/>
              <a:gd name="connsiteX390" fmla="*/ 3151171 w 5593163"/>
              <a:gd name="connsiteY390" fmla="*/ 480636 h 4305008"/>
              <a:gd name="connsiteX391" fmla="*/ 3150672 w 5593163"/>
              <a:gd name="connsiteY391" fmla="*/ 480669 h 4305008"/>
              <a:gd name="connsiteX392" fmla="*/ 3150079 w 5593163"/>
              <a:gd name="connsiteY392" fmla="*/ 469318 h 4305008"/>
              <a:gd name="connsiteX393" fmla="*/ 3150079 w 5593163"/>
              <a:gd name="connsiteY393" fmla="*/ 2166144 h 4305008"/>
              <a:gd name="connsiteX394" fmla="*/ 3151450 w 5593163"/>
              <a:gd name="connsiteY394" fmla="*/ 2149296 h 4305008"/>
              <a:gd name="connsiteX395" fmla="*/ 3158914 w 5593163"/>
              <a:gd name="connsiteY395" fmla="*/ 2057565 h 4305008"/>
              <a:gd name="connsiteX396" fmla="*/ 3159454 w 5593163"/>
              <a:gd name="connsiteY396" fmla="*/ 2050928 h 4305008"/>
              <a:gd name="connsiteX397" fmla="*/ 3159960 w 5593163"/>
              <a:gd name="connsiteY397" fmla="*/ 2050865 h 4305008"/>
              <a:gd name="connsiteX398" fmla="*/ 3850126 w 5593163"/>
              <a:gd name="connsiteY398" fmla="*/ 1363267 h 4305008"/>
              <a:gd name="connsiteX399" fmla="*/ 3850243 w 5593163"/>
              <a:gd name="connsiteY399" fmla="*/ 1362128 h 4305008"/>
              <a:gd name="connsiteX400" fmla="*/ 3866455 w 5593163"/>
              <a:gd name="connsiteY400" fmla="*/ 1360601 h 4305008"/>
              <a:gd name="connsiteX401" fmla="*/ 3961917 w 5593163"/>
              <a:gd name="connsiteY401" fmla="*/ 1351607 h 4305008"/>
              <a:gd name="connsiteX402" fmla="*/ 3979004 w 5593163"/>
              <a:gd name="connsiteY402" fmla="*/ 1349997 h 4305008"/>
              <a:gd name="connsiteX403" fmla="*/ 3979030 w 5593163"/>
              <a:gd name="connsiteY403" fmla="*/ 1350487 h 4305008"/>
              <a:gd name="connsiteX404" fmla="*/ 3979528 w 5593163"/>
              <a:gd name="connsiteY404" fmla="*/ 1350455 h 4305008"/>
              <a:gd name="connsiteX405" fmla="*/ 3980122 w 5593163"/>
              <a:gd name="connsiteY405" fmla="*/ 1361805 h 4305008"/>
              <a:gd name="connsiteX406" fmla="*/ 3978752 w 5593163"/>
              <a:gd name="connsiteY406" fmla="*/ 1378647 h 4305008"/>
              <a:gd name="connsiteX407" fmla="*/ 3971285 w 5593163"/>
              <a:gd name="connsiteY407" fmla="*/ 1470397 h 4305008"/>
              <a:gd name="connsiteX408" fmla="*/ 3970746 w 5593163"/>
              <a:gd name="connsiteY408" fmla="*/ 1477021 h 4305008"/>
              <a:gd name="connsiteX409" fmla="*/ 3970241 w 5593163"/>
              <a:gd name="connsiteY409" fmla="*/ 1477083 h 4305008"/>
              <a:gd name="connsiteX410" fmla="*/ 3280075 w 5593163"/>
              <a:gd name="connsiteY410" fmla="*/ 2164681 h 4305008"/>
              <a:gd name="connsiteX411" fmla="*/ 3279959 w 5593163"/>
              <a:gd name="connsiteY411" fmla="*/ 2165820 h 4305008"/>
              <a:gd name="connsiteX412" fmla="*/ 3263742 w 5593163"/>
              <a:gd name="connsiteY412" fmla="*/ 2167348 h 4305008"/>
              <a:gd name="connsiteX413" fmla="*/ 3168316 w 5593163"/>
              <a:gd name="connsiteY413" fmla="*/ 2176339 h 4305008"/>
              <a:gd name="connsiteX414" fmla="*/ 3151197 w 5593163"/>
              <a:gd name="connsiteY414" fmla="*/ 2177952 h 4305008"/>
              <a:gd name="connsiteX415" fmla="*/ 3151171 w 5593163"/>
              <a:gd name="connsiteY415" fmla="*/ 2177461 h 4305008"/>
              <a:gd name="connsiteX416" fmla="*/ 3150672 w 5593163"/>
              <a:gd name="connsiteY416" fmla="*/ 2177494 h 4305008"/>
              <a:gd name="connsiteX417" fmla="*/ 3150079 w 5593163"/>
              <a:gd name="connsiteY417" fmla="*/ 2166144 h 4305008"/>
              <a:gd name="connsiteX418" fmla="*/ 3150079 w 5593163"/>
              <a:gd name="connsiteY418" fmla="*/ 3862969 h 4305008"/>
              <a:gd name="connsiteX419" fmla="*/ 3151450 w 5593163"/>
              <a:gd name="connsiteY419" fmla="*/ 3846121 h 4305008"/>
              <a:gd name="connsiteX420" fmla="*/ 3158914 w 5593163"/>
              <a:gd name="connsiteY420" fmla="*/ 3754390 h 4305008"/>
              <a:gd name="connsiteX421" fmla="*/ 3159454 w 5593163"/>
              <a:gd name="connsiteY421" fmla="*/ 3747753 h 4305008"/>
              <a:gd name="connsiteX422" fmla="*/ 3159960 w 5593163"/>
              <a:gd name="connsiteY422" fmla="*/ 3747690 h 4305008"/>
              <a:gd name="connsiteX423" fmla="*/ 3850126 w 5593163"/>
              <a:gd name="connsiteY423" fmla="*/ 3060092 h 4305008"/>
              <a:gd name="connsiteX424" fmla="*/ 3850243 w 5593163"/>
              <a:gd name="connsiteY424" fmla="*/ 3058953 h 4305008"/>
              <a:gd name="connsiteX425" fmla="*/ 3866455 w 5593163"/>
              <a:gd name="connsiteY425" fmla="*/ 3057426 h 4305008"/>
              <a:gd name="connsiteX426" fmla="*/ 3961917 w 5593163"/>
              <a:gd name="connsiteY426" fmla="*/ 3048432 h 4305008"/>
              <a:gd name="connsiteX427" fmla="*/ 3979004 w 5593163"/>
              <a:gd name="connsiteY427" fmla="*/ 3046822 h 4305008"/>
              <a:gd name="connsiteX428" fmla="*/ 3979030 w 5593163"/>
              <a:gd name="connsiteY428" fmla="*/ 3047312 h 4305008"/>
              <a:gd name="connsiteX429" fmla="*/ 3979528 w 5593163"/>
              <a:gd name="connsiteY429" fmla="*/ 3047280 h 4305008"/>
              <a:gd name="connsiteX430" fmla="*/ 3980122 w 5593163"/>
              <a:gd name="connsiteY430" fmla="*/ 3058630 h 4305008"/>
              <a:gd name="connsiteX431" fmla="*/ 3978752 w 5593163"/>
              <a:gd name="connsiteY431" fmla="*/ 3075472 h 4305008"/>
              <a:gd name="connsiteX432" fmla="*/ 3971285 w 5593163"/>
              <a:gd name="connsiteY432" fmla="*/ 3167222 h 4305008"/>
              <a:gd name="connsiteX433" fmla="*/ 3970746 w 5593163"/>
              <a:gd name="connsiteY433" fmla="*/ 3173846 h 4305008"/>
              <a:gd name="connsiteX434" fmla="*/ 3970241 w 5593163"/>
              <a:gd name="connsiteY434" fmla="*/ 3173908 h 4305008"/>
              <a:gd name="connsiteX435" fmla="*/ 3280075 w 5593163"/>
              <a:gd name="connsiteY435" fmla="*/ 3861506 h 4305008"/>
              <a:gd name="connsiteX436" fmla="*/ 3279959 w 5593163"/>
              <a:gd name="connsiteY436" fmla="*/ 3862645 h 4305008"/>
              <a:gd name="connsiteX437" fmla="*/ 3263742 w 5593163"/>
              <a:gd name="connsiteY437" fmla="*/ 3864173 h 4305008"/>
              <a:gd name="connsiteX438" fmla="*/ 3168316 w 5593163"/>
              <a:gd name="connsiteY438" fmla="*/ 3873164 h 4305008"/>
              <a:gd name="connsiteX439" fmla="*/ 3151197 w 5593163"/>
              <a:gd name="connsiteY439" fmla="*/ 3874777 h 4305008"/>
              <a:gd name="connsiteX440" fmla="*/ 3151171 w 5593163"/>
              <a:gd name="connsiteY440" fmla="*/ 3874286 h 4305008"/>
              <a:gd name="connsiteX441" fmla="*/ 3150672 w 5593163"/>
              <a:gd name="connsiteY441" fmla="*/ 3874319 h 4305008"/>
              <a:gd name="connsiteX442" fmla="*/ 3150079 w 5593163"/>
              <a:gd name="connsiteY442" fmla="*/ 3862969 h 4305008"/>
              <a:gd name="connsiteX443" fmla="*/ 2442890 w 5593163"/>
              <a:gd name="connsiteY443" fmla="*/ 1181049 h 4305008"/>
              <a:gd name="connsiteX444" fmla="*/ 2986199 w 5593163"/>
              <a:gd name="connsiteY444" fmla="*/ 636203 h 4305008"/>
              <a:gd name="connsiteX445" fmla="*/ 2442890 w 5593163"/>
              <a:gd name="connsiteY445" fmla="*/ 1181049 h 4305008"/>
              <a:gd name="connsiteX446" fmla="*/ 2442890 w 5593163"/>
              <a:gd name="connsiteY446" fmla="*/ 1493690 h 4305008"/>
              <a:gd name="connsiteX447" fmla="*/ 2986199 w 5593163"/>
              <a:gd name="connsiteY447" fmla="*/ 2034258 h 4305008"/>
              <a:gd name="connsiteX448" fmla="*/ 2442890 w 5593163"/>
              <a:gd name="connsiteY448" fmla="*/ 1493690 h 4305008"/>
              <a:gd name="connsiteX449" fmla="*/ 2442890 w 5593163"/>
              <a:gd name="connsiteY449" fmla="*/ 2877874 h 4305008"/>
              <a:gd name="connsiteX450" fmla="*/ 2986199 w 5593163"/>
              <a:gd name="connsiteY450" fmla="*/ 2333028 h 4305008"/>
              <a:gd name="connsiteX451" fmla="*/ 2442890 w 5593163"/>
              <a:gd name="connsiteY451" fmla="*/ 2877874 h 4305008"/>
              <a:gd name="connsiteX452" fmla="*/ 2442890 w 5593163"/>
              <a:gd name="connsiteY452" fmla="*/ 3190516 h 4305008"/>
              <a:gd name="connsiteX453" fmla="*/ 2986199 w 5593163"/>
              <a:gd name="connsiteY453" fmla="*/ 3731083 h 4305008"/>
              <a:gd name="connsiteX454" fmla="*/ 2442890 w 5593163"/>
              <a:gd name="connsiteY454" fmla="*/ 3190516 h 4305008"/>
              <a:gd name="connsiteX455" fmla="*/ 2410871 w 5593163"/>
              <a:gd name="connsiteY455" fmla="*/ 4305008 h 4305008"/>
              <a:gd name="connsiteX456" fmla="*/ 2439316 w 5593163"/>
              <a:gd name="connsiteY456" fmla="*/ 4255797 h 4305008"/>
              <a:gd name="connsiteX457" fmla="*/ 2999569 w 5593163"/>
              <a:gd name="connsiteY457" fmla="*/ 3898397 h 4305008"/>
              <a:gd name="connsiteX458" fmla="*/ 2999686 w 5593163"/>
              <a:gd name="connsiteY458" fmla="*/ 3897249 h 4305008"/>
              <a:gd name="connsiteX459" fmla="*/ 3015899 w 5593163"/>
              <a:gd name="connsiteY459" fmla="*/ 3895710 h 4305008"/>
              <a:gd name="connsiteX460" fmla="*/ 3111360 w 5593163"/>
              <a:gd name="connsiteY460" fmla="*/ 3886645 h 4305008"/>
              <a:gd name="connsiteX461" fmla="*/ 3128448 w 5593163"/>
              <a:gd name="connsiteY461" fmla="*/ 3885022 h 4305008"/>
              <a:gd name="connsiteX462" fmla="*/ 3128474 w 5593163"/>
              <a:gd name="connsiteY462" fmla="*/ 3885516 h 4305008"/>
              <a:gd name="connsiteX463" fmla="*/ 3128972 w 5593163"/>
              <a:gd name="connsiteY463" fmla="*/ 3885483 h 4305008"/>
              <a:gd name="connsiteX464" fmla="*/ 3129566 w 5593163"/>
              <a:gd name="connsiteY464" fmla="*/ 3896923 h 4305008"/>
              <a:gd name="connsiteX465" fmla="*/ 3128195 w 5593163"/>
              <a:gd name="connsiteY465" fmla="*/ 3913899 h 4305008"/>
              <a:gd name="connsiteX466" fmla="*/ 3120728 w 5593163"/>
              <a:gd name="connsiteY466" fmla="*/ 4006375 h 4305008"/>
              <a:gd name="connsiteX467" fmla="*/ 3120190 w 5593163"/>
              <a:gd name="connsiteY467" fmla="*/ 4013051 h 4305008"/>
              <a:gd name="connsiteX468" fmla="*/ 3119684 w 5593163"/>
              <a:gd name="connsiteY468" fmla="*/ 4013114 h 4305008"/>
              <a:gd name="connsiteX469" fmla="*/ 3044567 w 5593163"/>
              <a:gd name="connsiteY469" fmla="*/ 4254710 h 4305008"/>
              <a:gd name="connsiteX470" fmla="*/ 3014445 w 5593163"/>
              <a:gd name="connsiteY470" fmla="*/ 4305008 h 4305008"/>
              <a:gd name="connsiteX471" fmla="*/ 2860336 w 5593163"/>
              <a:gd name="connsiteY471" fmla="*/ 4305008 h 4305008"/>
              <a:gd name="connsiteX472" fmla="*/ 2887018 w 5593163"/>
              <a:gd name="connsiteY472" fmla="*/ 4271827 h 4305008"/>
              <a:gd name="connsiteX473" fmla="*/ 2986199 w 5593163"/>
              <a:gd name="connsiteY473" fmla="*/ 4029853 h 4305008"/>
              <a:gd name="connsiteX474" fmla="*/ 2614045 w 5593163"/>
              <a:gd name="connsiteY474" fmla="*/ 4241205 h 4305008"/>
              <a:gd name="connsiteX475" fmla="*/ 2561922 w 5593163"/>
              <a:gd name="connsiteY475" fmla="*/ 4305008 h 4305008"/>
              <a:gd name="connsiteX476" fmla="*/ 2376360 w 5593163"/>
              <a:gd name="connsiteY476" fmla="*/ 0 h 4305008"/>
              <a:gd name="connsiteX477" fmla="*/ 2524998 w 5593163"/>
              <a:gd name="connsiteY477" fmla="*/ 0 h 4305008"/>
              <a:gd name="connsiteX478" fmla="*/ 2547226 w 5593163"/>
              <a:gd name="connsiteY478" fmla="*/ 44350 h 4305008"/>
              <a:gd name="connsiteX479" fmla="*/ 2986199 w 5593163"/>
              <a:gd name="connsiteY479" fmla="*/ 337433 h 4305008"/>
              <a:gd name="connsiteX480" fmla="*/ 2872691 w 5593163"/>
              <a:gd name="connsiteY480" fmla="*/ 76659 h 4305008"/>
              <a:gd name="connsiteX481" fmla="*/ 2804464 w 5593163"/>
              <a:gd name="connsiteY481" fmla="*/ 0 h 4305008"/>
              <a:gd name="connsiteX482" fmla="*/ 2972839 w 5593163"/>
              <a:gd name="connsiteY482" fmla="*/ 0 h 4305008"/>
              <a:gd name="connsiteX483" fmla="*/ 3035473 w 5593163"/>
              <a:gd name="connsiteY483" fmla="*/ 96778 h 4305008"/>
              <a:gd name="connsiteX484" fmla="*/ 3119686 w 5593163"/>
              <a:gd name="connsiteY484" fmla="*/ 354040 h 4305008"/>
              <a:gd name="connsiteX485" fmla="*/ 3120191 w 5593163"/>
              <a:gd name="connsiteY485" fmla="*/ 354103 h 4305008"/>
              <a:gd name="connsiteX486" fmla="*/ 3120732 w 5593163"/>
              <a:gd name="connsiteY486" fmla="*/ 360740 h 4305008"/>
              <a:gd name="connsiteX487" fmla="*/ 3128196 w 5593163"/>
              <a:gd name="connsiteY487" fmla="*/ 452471 h 4305008"/>
              <a:gd name="connsiteX488" fmla="*/ 3129566 w 5593163"/>
              <a:gd name="connsiteY488" fmla="*/ 469318 h 4305008"/>
              <a:gd name="connsiteX489" fmla="*/ 3128973 w 5593163"/>
              <a:gd name="connsiteY489" fmla="*/ 480669 h 4305008"/>
              <a:gd name="connsiteX490" fmla="*/ 3128474 w 5593163"/>
              <a:gd name="connsiteY490" fmla="*/ 480636 h 4305008"/>
              <a:gd name="connsiteX491" fmla="*/ 3128448 w 5593163"/>
              <a:gd name="connsiteY491" fmla="*/ 481127 h 4305008"/>
              <a:gd name="connsiteX492" fmla="*/ 3111330 w 5593163"/>
              <a:gd name="connsiteY492" fmla="*/ 479514 h 4305008"/>
              <a:gd name="connsiteX493" fmla="*/ 3015903 w 5593163"/>
              <a:gd name="connsiteY493" fmla="*/ 470523 h 4305008"/>
              <a:gd name="connsiteX494" fmla="*/ 2999687 w 5593163"/>
              <a:gd name="connsiteY494" fmla="*/ 468995 h 4305008"/>
              <a:gd name="connsiteX495" fmla="*/ 2999571 w 5593163"/>
              <a:gd name="connsiteY495" fmla="*/ 467856 h 4305008"/>
              <a:gd name="connsiteX496" fmla="*/ 2428199 w 5593163"/>
              <a:gd name="connsiteY496" fmla="*/ 95636 h 4305008"/>
              <a:gd name="connsiteX497" fmla="*/ 2299523 w 5593163"/>
              <a:gd name="connsiteY497" fmla="*/ 1313979 h 4305008"/>
              <a:gd name="connsiteX498" fmla="*/ 2300894 w 5593163"/>
              <a:gd name="connsiteY498" fmla="*/ 1296998 h 4305008"/>
              <a:gd name="connsiteX499" fmla="*/ 2308358 w 5593163"/>
              <a:gd name="connsiteY499" fmla="*/ 1204541 h 4305008"/>
              <a:gd name="connsiteX500" fmla="*/ 2308898 w 5593163"/>
              <a:gd name="connsiteY500" fmla="*/ 1197851 h 4305008"/>
              <a:gd name="connsiteX501" fmla="*/ 2309404 w 5593163"/>
              <a:gd name="connsiteY501" fmla="*/ 1197788 h 4305008"/>
              <a:gd name="connsiteX502" fmla="*/ 2999570 w 5593163"/>
              <a:gd name="connsiteY502" fmla="*/ 504747 h 4305008"/>
              <a:gd name="connsiteX503" fmla="*/ 2999687 w 5593163"/>
              <a:gd name="connsiteY503" fmla="*/ 503599 h 4305008"/>
              <a:gd name="connsiteX504" fmla="*/ 3015899 w 5593163"/>
              <a:gd name="connsiteY504" fmla="*/ 502060 h 4305008"/>
              <a:gd name="connsiteX505" fmla="*/ 3111361 w 5593163"/>
              <a:gd name="connsiteY505" fmla="*/ 492995 h 4305008"/>
              <a:gd name="connsiteX506" fmla="*/ 3128448 w 5593163"/>
              <a:gd name="connsiteY506" fmla="*/ 491372 h 4305008"/>
              <a:gd name="connsiteX507" fmla="*/ 3128474 w 5593163"/>
              <a:gd name="connsiteY507" fmla="*/ 491866 h 4305008"/>
              <a:gd name="connsiteX508" fmla="*/ 3128972 w 5593163"/>
              <a:gd name="connsiteY508" fmla="*/ 491833 h 4305008"/>
              <a:gd name="connsiteX509" fmla="*/ 3129566 w 5593163"/>
              <a:gd name="connsiteY509" fmla="*/ 503273 h 4305008"/>
              <a:gd name="connsiteX510" fmla="*/ 3128196 w 5593163"/>
              <a:gd name="connsiteY510" fmla="*/ 520249 h 4305008"/>
              <a:gd name="connsiteX511" fmla="*/ 3120729 w 5593163"/>
              <a:gd name="connsiteY511" fmla="*/ 612725 h 4305008"/>
              <a:gd name="connsiteX512" fmla="*/ 3120190 w 5593163"/>
              <a:gd name="connsiteY512" fmla="*/ 619401 h 4305008"/>
              <a:gd name="connsiteX513" fmla="*/ 3119685 w 5593163"/>
              <a:gd name="connsiteY513" fmla="*/ 619464 h 4305008"/>
              <a:gd name="connsiteX514" fmla="*/ 2429519 w 5593163"/>
              <a:gd name="connsiteY514" fmla="*/ 1312505 h 4305008"/>
              <a:gd name="connsiteX515" fmla="*/ 2429403 w 5593163"/>
              <a:gd name="connsiteY515" fmla="*/ 1313653 h 4305008"/>
              <a:gd name="connsiteX516" fmla="*/ 2413186 w 5593163"/>
              <a:gd name="connsiteY516" fmla="*/ 1315193 h 4305008"/>
              <a:gd name="connsiteX517" fmla="*/ 2317760 w 5593163"/>
              <a:gd name="connsiteY517" fmla="*/ 1324255 h 4305008"/>
              <a:gd name="connsiteX518" fmla="*/ 2300641 w 5593163"/>
              <a:gd name="connsiteY518" fmla="*/ 1325881 h 4305008"/>
              <a:gd name="connsiteX519" fmla="*/ 2300615 w 5593163"/>
              <a:gd name="connsiteY519" fmla="*/ 1325386 h 4305008"/>
              <a:gd name="connsiteX520" fmla="*/ 2300116 w 5593163"/>
              <a:gd name="connsiteY520" fmla="*/ 1325419 h 4305008"/>
              <a:gd name="connsiteX521" fmla="*/ 2299523 w 5593163"/>
              <a:gd name="connsiteY521" fmla="*/ 1313979 h 4305008"/>
              <a:gd name="connsiteX522" fmla="*/ 2299523 w 5593163"/>
              <a:gd name="connsiteY522" fmla="*/ 1361805 h 4305008"/>
              <a:gd name="connsiteX523" fmla="*/ 2300117 w 5593163"/>
              <a:gd name="connsiteY523" fmla="*/ 1350455 h 4305008"/>
              <a:gd name="connsiteX524" fmla="*/ 2300615 w 5593163"/>
              <a:gd name="connsiteY524" fmla="*/ 1350487 h 4305008"/>
              <a:gd name="connsiteX525" fmla="*/ 2300641 w 5593163"/>
              <a:gd name="connsiteY525" fmla="*/ 1349997 h 4305008"/>
              <a:gd name="connsiteX526" fmla="*/ 2317729 w 5593163"/>
              <a:gd name="connsiteY526" fmla="*/ 1351607 h 4305008"/>
              <a:gd name="connsiteX527" fmla="*/ 2413190 w 5593163"/>
              <a:gd name="connsiteY527" fmla="*/ 1360601 h 4305008"/>
              <a:gd name="connsiteX528" fmla="*/ 2429403 w 5593163"/>
              <a:gd name="connsiteY528" fmla="*/ 1362128 h 4305008"/>
              <a:gd name="connsiteX529" fmla="*/ 2429520 w 5593163"/>
              <a:gd name="connsiteY529" fmla="*/ 1363267 h 4305008"/>
              <a:gd name="connsiteX530" fmla="*/ 3119686 w 5593163"/>
              <a:gd name="connsiteY530" fmla="*/ 2050865 h 4305008"/>
              <a:gd name="connsiteX531" fmla="*/ 3120191 w 5593163"/>
              <a:gd name="connsiteY531" fmla="*/ 2050928 h 4305008"/>
              <a:gd name="connsiteX532" fmla="*/ 3120732 w 5593163"/>
              <a:gd name="connsiteY532" fmla="*/ 2057565 h 4305008"/>
              <a:gd name="connsiteX533" fmla="*/ 3128196 w 5593163"/>
              <a:gd name="connsiteY533" fmla="*/ 2149296 h 4305008"/>
              <a:gd name="connsiteX534" fmla="*/ 3129566 w 5593163"/>
              <a:gd name="connsiteY534" fmla="*/ 2166144 h 4305008"/>
              <a:gd name="connsiteX535" fmla="*/ 3128973 w 5593163"/>
              <a:gd name="connsiteY535" fmla="*/ 2177494 h 4305008"/>
              <a:gd name="connsiteX536" fmla="*/ 3128474 w 5593163"/>
              <a:gd name="connsiteY536" fmla="*/ 2177461 h 4305008"/>
              <a:gd name="connsiteX537" fmla="*/ 3128448 w 5593163"/>
              <a:gd name="connsiteY537" fmla="*/ 2177952 h 4305008"/>
              <a:gd name="connsiteX538" fmla="*/ 3111330 w 5593163"/>
              <a:gd name="connsiteY538" fmla="*/ 2176339 h 4305008"/>
              <a:gd name="connsiteX539" fmla="*/ 3015903 w 5593163"/>
              <a:gd name="connsiteY539" fmla="*/ 2167348 h 4305008"/>
              <a:gd name="connsiteX540" fmla="*/ 2999687 w 5593163"/>
              <a:gd name="connsiteY540" fmla="*/ 2165820 h 4305008"/>
              <a:gd name="connsiteX541" fmla="*/ 2999571 w 5593163"/>
              <a:gd name="connsiteY541" fmla="*/ 2164681 h 4305008"/>
              <a:gd name="connsiteX542" fmla="*/ 2309405 w 5593163"/>
              <a:gd name="connsiteY542" fmla="*/ 1477083 h 4305008"/>
              <a:gd name="connsiteX543" fmla="*/ 2308899 w 5593163"/>
              <a:gd name="connsiteY543" fmla="*/ 1477021 h 4305008"/>
              <a:gd name="connsiteX544" fmla="*/ 2308361 w 5593163"/>
              <a:gd name="connsiteY544" fmla="*/ 1470397 h 4305008"/>
              <a:gd name="connsiteX545" fmla="*/ 2300894 w 5593163"/>
              <a:gd name="connsiteY545" fmla="*/ 1378647 h 4305008"/>
              <a:gd name="connsiteX546" fmla="*/ 2299523 w 5593163"/>
              <a:gd name="connsiteY546" fmla="*/ 1361805 h 4305008"/>
              <a:gd name="connsiteX547" fmla="*/ 2299523 w 5593163"/>
              <a:gd name="connsiteY547" fmla="*/ 3010804 h 4305008"/>
              <a:gd name="connsiteX548" fmla="*/ 2300894 w 5593163"/>
              <a:gd name="connsiteY548" fmla="*/ 2993823 h 4305008"/>
              <a:gd name="connsiteX549" fmla="*/ 2308358 w 5593163"/>
              <a:gd name="connsiteY549" fmla="*/ 2901366 h 4305008"/>
              <a:gd name="connsiteX550" fmla="*/ 2308898 w 5593163"/>
              <a:gd name="connsiteY550" fmla="*/ 2894676 h 4305008"/>
              <a:gd name="connsiteX551" fmla="*/ 2309404 w 5593163"/>
              <a:gd name="connsiteY551" fmla="*/ 2894613 h 4305008"/>
              <a:gd name="connsiteX552" fmla="*/ 2999570 w 5593163"/>
              <a:gd name="connsiteY552" fmla="*/ 2201572 h 4305008"/>
              <a:gd name="connsiteX553" fmla="*/ 2999687 w 5593163"/>
              <a:gd name="connsiteY553" fmla="*/ 2200424 h 4305008"/>
              <a:gd name="connsiteX554" fmla="*/ 3015899 w 5593163"/>
              <a:gd name="connsiteY554" fmla="*/ 2198885 h 4305008"/>
              <a:gd name="connsiteX555" fmla="*/ 3111361 w 5593163"/>
              <a:gd name="connsiteY555" fmla="*/ 2189820 h 4305008"/>
              <a:gd name="connsiteX556" fmla="*/ 3128448 w 5593163"/>
              <a:gd name="connsiteY556" fmla="*/ 2188197 h 4305008"/>
              <a:gd name="connsiteX557" fmla="*/ 3128474 w 5593163"/>
              <a:gd name="connsiteY557" fmla="*/ 2188691 h 4305008"/>
              <a:gd name="connsiteX558" fmla="*/ 3128972 w 5593163"/>
              <a:gd name="connsiteY558" fmla="*/ 2188658 h 4305008"/>
              <a:gd name="connsiteX559" fmla="*/ 3129566 w 5593163"/>
              <a:gd name="connsiteY559" fmla="*/ 2200098 h 4305008"/>
              <a:gd name="connsiteX560" fmla="*/ 3128196 w 5593163"/>
              <a:gd name="connsiteY560" fmla="*/ 2217074 h 4305008"/>
              <a:gd name="connsiteX561" fmla="*/ 3120729 w 5593163"/>
              <a:gd name="connsiteY561" fmla="*/ 2309550 h 4305008"/>
              <a:gd name="connsiteX562" fmla="*/ 3120190 w 5593163"/>
              <a:gd name="connsiteY562" fmla="*/ 2316226 h 4305008"/>
              <a:gd name="connsiteX563" fmla="*/ 3119685 w 5593163"/>
              <a:gd name="connsiteY563" fmla="*/ 2316289 h 4305008"/>
              <a:gd name="connsiteX564" fmla="*/ 2429519 w 5593163"/>
              <a:gd name="connsiteY564" fmla="*/ 3009330 h 4305008"/>
              <a:gd name="connsiteX565" fmla="*/ 2429403 w 5593163"/>
              <a:gd name="connsiteY565" fmla="*/ 3010478 h 4305008"/>
              <a:gd name="connsiteX566" fmla="*/ 2413186 w 5593163"/>
              <a:gd name="connsiteY566" fmla="*/ 3012018 h 4305008"/>
              <a:gd name="connsiteX567" fmla="*/ 2317760 w 5593163"/>
              <a:gd name="connsiteY567" fmla="*/ 3021080 h 4305008"/>
              <a:gd name="connsiteX568" fmla="*/ 2300641 w 5593163"/>
              <a:gd name="connsiteY568" fmla="*/ 3022706 h 4305008"/>
              <a:gd name="connsiteX569" fmla="*/ 2300615 w 5593163"/>
              <a:gd name="connsiteY569" fmla="*/ 3022211 h 4305008"/>
              <a:gd name="connsiteX570" fmla="*/ 2300116 w 5593163"/>
              <a:gd name="connsiteY570" fmla="*/ 3022244 h 4305008"/>
              <a:gd name="connsiteX571" fmla="*/ 2299523 w 5593163"/>
              <a:gd name="connsiteY571" fmla="*/ 3010804 h 4305008"/>
              <a:gd name="connsiteX572" fmla="*/ 2299523 w 5593163"/>
              <a:gd name="connsiteY572" fmla="*/ 3058630 h 4305008"/>
              <a:gd name="connsiteX573" fmla="*/ 2300117 w 5593163"/>
              <a:gd name="connsiteY573" fmla="*/ 3047280 h 4305008"/>
              <a:gd name="connsiteX574" fmla="*/ 2300615 w 5593163"/>
              <a:gd name="connsiteY574" fmla="*/ 3047312 h 4305008"/>
              <a:gd name="connsiteX575" fmla="*/ 2300641 w 5593163"/>
              <a:gd name="connsiteY575" fmla="*/ 3046822 h 4305008"/>
              <a:gd name="connsiteX576" fmla="*/ 2317729 w 5593163"/>
              <a:gd name="connsiteY576" fmla="*/ 3048432 h 4305008"/>
              <a:gd name="connsiteX577" fmla="*/ 2413190 w 5593163"/>
              <a:gd name="connsiteY577" fmla="*/ 3057426 h 4305008"/>
              <a:gd name="connsiteX578" fmla="*/ 2429403 w 5593163"/>
              <a:gd name="connsiteY578" fmla="*/ 3058953 h 4305008"/>
              <a:gd name="connsiteX579" fmla="*/ 2429520 w 5593163"/>
              <a:gd name="connsiteY579" fmla="*/ 3060092 h 4305008"/>
              <a:gd name="connsiteX580" fmla="*/ 3119686 w 5593163"/>
              <a:gd name="connsiteY580" fmla="*/ 3747690 h 4305008"/>
              <a:gd name="connsiteX581" fmla="*/ 3120191 w 5593163"/>
              <a:gd name="connsiteY581" fmla="*/ 3747753 h 4305008"/>
              <a:gd name="connsiteX582" fmla="*/ 3120732 w 5593163"/>
              <a:gd name="connsiteY582" fmla="*/ 3754390 h 4305008"/>
              <a:gd name="connsiteX583" fmla="*/ 3128196 w 5593163"/>
              <a:gd name="connsiteY583" fmla="*/ 3846121 h 4305008"/>
              <a:gd name="connsiteX584" fmla="*/ 3129566 w 5593163"/>
              <a:gd name="connsiteY584" fmla="*/ 3862969 h 4305008"/>
              <a:gd name="connsiteX585" fmla="*/ 3128973 w 5593163"/>
              <a:gd name="connsiteY585" fmla="*/ 3874319 h 4305008"/>
              <a:gd name="connsiteX586" fmla="*/ 3128474 w 5593163"/>
              <a:gd name="connsiteY586" fmla="*/ 3874286 h 4305008"/>
              <a:gd name="connsiteX587" fmla="*/ 3128448 w 5593163"/>
              <a:gd name="connsiteY587" fmla="*/ 3874777 h 4305008"/>
              <a:gd name="connsiteX588" fmla="*/ 3111330 w 5593163"/>
              <a:gd name="connsiteY588" fmla="*/ 3873164 h 4305008"/>
              <a:gd name="connsiteX589" fmla="*/ 3015903 w 5593163"/>
              <a:gd name="connsiteY589" fmla="*/ 3864173 h 4305008"/>
              <a:gd name="connsiteX590" fmla="*/ 2999687 w 5593163"/>
              <a:gd name="connsiteY590" fmla="*/ 3862645 h 4305008"/>
              <a:gd name="connsiteX591" fmla="*/ 2999571 w 5593163"/>
              <a:gd name="connsiteY591" fmla="*/ 3861506 h 4305008"/>
              <a:gd name="connsiteX592" fmla="*/ 2309405 w 5593163"/>
              <a:gd name="connsiteY592" fmla="*/ 3173908 h 4305008"/>
              <a:gd name="connsiteX593" fmla="*/ 2308899 w 5593163"/>
              <a:gd name="connsiteY593" fmla="*/ 3173846 h 4305008"/>
              <a:gd name="connsiteX594" fmla="*/ 2308361 w 5593163"/>
              <a:gd name="connsiteY594" fmla="*/ 3167222 h 4305008"/>
              <a:gd name="connsiteX595" fmla="*/ 2300894 w 5593163"/>
              <a:gd name="connsiteY595" fmla="*/ 3075472 h 4305008"/>
              <a:gd name="connsiteX596" fmla="*/ 2299523 w 5593163"/>
              <a:gd name="connsiteY596" fmla="*/ 3058630 h 4305008"/>
              <a:gd name="connsiteX597" fmla="*/ 1601297 w 5593163"/>
              <a:gd name="connsiteY597" fmla="*/ 636203 h 4305008"/>
              <a:gd name="connsiteX598" fmla="*/ 2144606 w 5593163"/>
              <a:gd name="connsiteY598" fmla="*/ 1181049 h 4305008"/>
              <a:gd name="connsiteX599" fmla="*/ 1601297 w 5593163"/>
              <a:gd name="connsiteY599" fmla="*/ 636203 h 4305008"/>
              <a:gd name="connsiteX600" fmla="*/ 1601297 w 5593163"/>
              <a:gd name="connsiteY600" fmla="*/ 2333028 h 4305008"/>
              <a:gd name="connsiteX601" fmla="*/ 2144606 w 5593163"/>
              <a:gd name="connsiteY601" fmla="*/ 2877874 h 4305008"/>
              <a:gd name="connsiteX602" fmla="*/ 1601297 w 5593163"/>
              <a:gd name="connsiteY602" fmla="*/ 2333028 h 4305008"/>
              <a:gd name="connsiteX603" fmla="*/ 1601295 w 5593163"/>
              <a:gd name="connsiteY603" fmla="*/ 2034258 h 4305008"/>
              <a:gd name="connsiteX604" fmla="*/ 2144604 w 5593163"/>
              <a:gd name="connsiteY604" fmla="*/ 1493690 h 4305008"/>
              <a:gd name="connsiteX605" fmla="*/ 1601295 w 5593163"/>
              <a:gd name="connsiteY605" fmla="*/ 2034258 h 4305008"/>
              <a:gd name="connsiteX606" fmla="*/ 1601295 w 5593163"/>
              <a:gd name="connsiteY606" fmla="*/ 3731083 h 4305008"/>
              <a:gd name="connsiteX607" fmla="*/ 2144604 w 5593163"/>
              <a:gd name="connsiteY607" fmla="*/ 3190516 h 4305008"/>
              <a:gd name="connsiteX608" fmla="*/ 1601295 w 5593163"/>
              <a:gd name="connsiteY608" fmla="*/ 3731083 h 4305008"/>
              <a:gd name="connsiteX609" fmla="*/ 1457930 w 5593163"/>
              <a:gd name="connsiteY609" fmla="*/ 503273 h 4305008"/>
              <a:gd name="connsiteX610" fmla="*/ 1458524 w 5593163"/>
              <a:gd name="connsiteY610" fmla="*/ 491833 h 4305008"/>
              <a:gd name="connsiteX611" fmla="*/ 1459022 w 5593163"/>
              <a:gd name="connsiteY611" fmla="*/ 491866 h 4305008"/>
              <a:gd name="connsiteX612" fmla="*/ 1459048 w 5593163"/>
              <a:gd name="connsiteY612" fmla="*/ 491372 h 4305008"/>
              <a:gd name="connsiteX613" fmla="*/ 1476135 w 5593163"/>
              <a:gd name="connsiteY613" fmla="*/ 492995 h 4305008"/>
              <a:gd name="connsiteX614" fmla="*/ 1571597 w 5593163"/>
              <a:gd name="connsiteY614" fmla="*/ 502060 h 4305008"/>
              <a:gd name="connsiteX615" fmla="*/ 1587809 w 5593163"/>
              <a:gd name="connsiteY615" fmla="*/ 503599 h 4305008"/>
              <a:gd name="connsiteX616" fmla="*/ 1587926 w 5593163"/>
              <a:gd name="connsiteY616" fmla="*/ 504747 h 4305008"/>
              <a:gd name="connsiteX617" fmla="*/ 2278092 w 5593163"/>
              <a:gd name="connsiteY617" fmla="*/ 1197788 h 4305008"/>
              <a:gd name="connsiteX618" fmla="*/ 2278598 w 5593163"/>
              <a:gd name="connsiteY618" fmla="*/ 1197851 h 4305008"/>
              <a:gd name="connsiteX619" fmla="*/ 2279138 w 5593163"/>
              <a:gd name="connsiteY619" fmla="*/ 1204541 h 4305008"/>
              <a:gd name="connsiteX620" fmla="*/ 2286602 w 5593163"/>
              <a:gd name="connsiteY620" fmla="*/ 1296998 h 4305008"/>
              <a:gd name="connsiteX621" fmla="*/ 2287973 w 5593163"/>
              <a:gd name="connsiteY621" fmla="*/ 1313979 h 4305008"/>
              <a:gd name="connsiteX622" fmla="*/ 2287380 w 5593163"/>
              <a:gd name="connsiteY622" fmla="*/ 1325419 h 4305008"/>
              <a:gd name="connsiteX623" fmla="*/ 2286881 w 5593163"/>
              <a:gd name="connsiteY623" fmla="*/ 1325386 h 4305008"/>
              <a:gd name="connsiteX624" fmla="*/ 2286855 w 5593163"/>
              <a:gd name="connsiteY624" fmla="*/ 1325881 h 4305008"/>
              <a:gd name="connsiteX625" fmla="*/ 2269736 w 5593163"/>
              <a:gd name="connsiteY625" fmla="*/ 1324255 h 4305008"/>
              <a:gd name="connsiteX626" fmla="*/ 2174310 w 5593163"/>
              <a:gd name="connsiteY626" fmla="*/ 1315193 h 4305008"/>
              <a:gd name="connsiteX627" fmla="*/ 2158093 w 5593163"/>
              <a:gd name="connsiteY627" fmla="*/ 1313653 h 4305008"/>
              <a:gd name="connsiteX628" fmla="*/ 2157977 w 5593163"/>
              <a:gd name="connsiteY628" fmla="*/ 1312505 h 4305008"/>
              <a:gd name="connsiteX629" fmla="*/ 1467811 w 5593163"/>
              <a:gd name="connsiteY629" fmla="*/ 619464 h 4305008"/>
              <a:gd name="connsiteX630" fmla="*/ 1467306 w 5593163"/>
              <a:gd name="connsiteY630" fmla="*/ 619401 h 4305008"/>
              <a:gd name="connsiteX631" fmla="*/ 1466767 w 5593163"/>
              <a:gd name="connsiteY631" fmla="*/ 612725 h 4305008"/>
              <a:gd name="connsiteX632" fmla="*/ 1459300 w 5593163"/>
              <a:gd name="connsiteY632" fmla="*/ 520249 h 4305008"/>
              <a:gd name="connsiteX633" fmla="*/ 1457930 w 5593163"/>
              <a:gd name="connsiteY633" fmla="*/ 503273 h 4305008"/>
              <a:gd name="connsiteX634" fmla="*/ 1457930 w 5593163"/>
              <a:gd name="connsiteY634" fmla="*/ 2200098 h 4305008"/>
              <a:gd name="connsiteX635" fmla="*/ 1458524 w 5593163"/>
              <a:gd name="connsiteY635" fmla="*/ 2188658 h 4305008"/>
              <a:gd name="connsiteX636" fmla="*/ 1459022 w 5593163"/>
              <a:gd name="connsiteY636" fmla="*/ 2188691 h 4305008"/>
              <a:gd name="connsiteX637" fmla="*/ 1459048 w 5593163"/>
              <a:gd name="connsiteY637" fmla="*/ 2188197 h 4305008"/>
              <a:gd name="connsiteX638" fmla="*/ 1476135 w 5593163"/>
              <a:gd name="connsiteY638" fmla="*/ 2189820 h 4305008"/>
              <a:gd name="connsiteX639" fmla="*/ 1571597 w 5593163"/>
              <a:gd name="connsiteY639" fmla="*/ 2198885 h 4305008"/>
              <a:gd name="connsiteX640" fmla="*/ 1587809 w 5593163"/>
              <a:gd name="connsiteY640" fmla="*/ 2200424 h 4305008"/>
              <a:gd name="connsiteX641" fmla="*/ 1587926 w 5593163"/>
              <a:gd name="connsiteY641" fmla="*/ 2201572 h 4305008"/>
              <a:gd name="connsiteX642" fmla="*/ 2278092 w 5593163"/>
              <a:gd name="connsiteY642" fmla="*/ 2894613 h 4305008"/>
              <a:gd name="connsiteX643" fmla="*/ 2278598 w 5593163"/>
              <a:gd name="connsiteY643" fmla="*/ 2894676 h 4305008"/>
              <a:gd name="connsiteX644" fmla="*/ 2279138 w 5593163"/>
              <a:gd name="connsiteY644" fmla="*/ 2901366 h 4305008"/>
              <a:gd name="connsiteX645" fmla="*/ 2286602 w 5593163"/>
              <a:gd name="connsiteY645" fmla="*/ 2993823 h 4305008"/>
              <a:gd name="connsiteX646" fmla="*/ 2287973 w 5593163"/>
              <a:gd name="connsiteY646" fmla="*/ 3010804 h 4305008"/>
              <a:gd name="connsiteX647" fmla="*/ 2287380 w 5593163"/>
              <a:gd name="connsiteY647" fmla="*/ 3022244 h 4305008"/>
              <a:gd name="connsiteX648" fmla="*/ 2286881 w 5593163"/>
              <a:gd name="connsiteY648" fmla="*/ 3022211 h 4305008"/>
              <a:gd name="connsiteX649" fmla="*/ 2286855 w 5593163"/>
              <a:gd name="connsiteY649" fmla="*/ 3022706 h 4305008"/>
              <a:gd name="connsiteX650" fmla="*/ 2269736 w 5593163"/>
              <a:gd name="connsiteY650" fmla="*/ 3021080 h 4305008"/>
              <a:gd name="connsiteX651" fmla="*/ 2174310 w 5593163"/>
              <a:gd name="connsiteY651" fmla="*/ 3012018 h 4305008"/>
              <a:gd name="connsiteX652" fmla="*/ 2158093 w 5593163"/>
              <a:gd name="connsiteY652" fmla="*/ 3010478 h 4305008"/>
              <a:gd name="connsiteX653" fmla="*/ 2157977 w 5593163"/>
              <a:gd name="connsiteY653" fmla="*/ 3009330 h 4305008"/>
              <a:gd name="connsiteX654" fmla="*/ 1467811 w 5593163"/>
              <a:gd name="connsiteY654" fmla="*/ 2316289 h 4305008"/>
              <a:gd name="connsiteX655" fmla="*/ 1467306 w 5593163"/>
              <a:gd name="connsiteY655" fmla="*/ 2316226 h 4305008"/>
              <a:gd name="connsiteX656" fmla="*/ 1466767 w 5593163"/>
              <a:gd name="connsiteY656" fmla="*/ 2309550 h 4305008"/>
              <a:gd name="connsiteX657" fmla="*/ 1459300 w 5593163"/>
              <a:gd name="connsiteY657" fmla="*/ 2217074 h 4305008"/>
              <a:gd name="connsiteX658" fmla="*/ 1457930 w 5593163"/>
              <a:gd name="connsiteY658" fmla="*/ 2200098 h 4305008"/>
              <a:gd name="connsiteX659" fmla="*/ 1457930 w 5593163"/>
              <a:gd name="connsiteY659" fmla="*/ 3896923 h 4305008"/>
              <a:gd name="connsiteX660" fmla="*/ 1458524 w 5593163"/>
              <a:gd name="connsiteY660" fmla="*/ 3885483 h 4305008"/>
              <a:gd name="connsiteX661" fmla="*/ 1459022 w 5593163"/>
              <a:gd name="connsiteY661" fmla="*/ 3885516 h 4305008"/>
              <a:gd name="connsiteX662" fmla="*/ 1459048 w 5593163"/>
              <a:gd name="connsiteY662" fmla="*/ 3885022 h 4305008"/>
              <a:gd name="connsiteX663" fmla="*/ 1476135 w 5593163"/>
              <a:gd name="connsiteY663" fmla="*/ 3886645 h 4305008"/>
              <a:gd name="connsiteX664" fmla="*/ 1571597 w 5593163"/>
              <a:gd name="connsiteY664" fmla="*/ 3895710 h 4305008"/>
              <a:gd name="connsiteX665" fmla="*/ 1587809 w 5593163"/>
              <a:gd name="connsiteY665" fmla="*/ 3897249 h 4305008"/>
              <a:gd name="connsiteX666" fmla="*/ 1587926 w 5593163"/>
              <a:gd name="connsiteY666" fmla="*/ 3898397 h 4305008"/>
              <a:gd name="connsiteX667" fmla="*/ 2148179 w 5593163"/>
              <a:gd name="connsiteY667" fmla="*/ 4255797 h 4305008"/>
              <a:gd name="connsiteX668" fmla="*/ 2176624 w 5593163"/>
              <a:gd name="connsiteY668" fmla="*/ 4305008 h 4305008"/>
              <a:gd name="connsiteX669" fmla="*/ 2025574 w 5593163"/>
              <a:gd name="connsiteY669" fmla="*/ 4305008 h 4305008"/>
              <a:gd name="connsiteX670" fmla="*/ 1973451 w 5593163"/>
              <a:gd name="connsiteY670" fmla="*/ 4241205 h 4305008"/>
              <a:gd name="connsiteX671" fmla="*/ 1601297 w 5593163"/>
              <a:gd name="connsiteY671" fmla="*/ 4029853 h 4305008"/>
              <a:gd name="connsiteX672" fmla="*/ 1700478 w 5593163"/>
              <a:gd name="connsiteY672" fmla="*/ 4271827 h 4305008"/>
              <a:gd name="connsiteX673" fmla="*/ 1727160 w 5593163"/>
              <a:gd name="connsiteY673" fmla="*/ 4305008 h 4305008"/>
              <a:gd name="connsiteX674" fmla="*/ 1573050 w 5593163"/>
              <a:gd name="connsiteY674" fmla="*/ 4305008 h 4305008"/>
              <a:gd name="connsiteX675" fmla="*/ 1542929 w 5593163"/>
              <a:gd name="connsiteY675" fmla="*/ 4254710 h 4305008"/>
              <a:gd name="connsiteX676" fmla="*/ 1467811 w 5593163"/>
              <a:gd name="connsiteY676" fmla="*/ 4013114 h 4305008"/>
              <a:gd name="connsiteX677" fmla="*/ 1467306 w 5593163"/>
              <a:gd name="connsiteY677" fmla="*/ 4013051 h 4305008"/>
              <a:gd name="connsiteX678" fmla="*/ 1466767 w 5593163"/>
              <a:gd name="connsiteY678" fmla="*/ 4006375 h 4305008"/>
              <a:gd name="connsiteX679" fmla="*/ 1459300 w 5593163"/>
              <a:gd name="connsiteY679" fmla="*/ 3913899 h 4305008"/>
              <a:gd name="connsiteX680" fmla="*/ 1457930 w 5593163"/>
              <a:gd name="connsiteY680" fmla="*/ 3896923 h 4305008"/>
              <a:gd name="connsiteX681" fmla="*/ 1457928 w 5593163"/>
              <a:gd name="connsiteY681" fmla="*/ 469318 h 4305008"/>
              <a:gd name="connsiteX682" fmla="*/ 1459298 w 5593163"/>
              <a:gd name="connsiteY682" fmla="*/ 452471 h 4305008"/>
              <a:gd name="connsiteX683" fmla="*/ 1466762 w 5593163"/>
              <a:gd name="connsiteY683" fmla="*/ 360740 h 4305008"/>
              <a:gd name="connsiteX684" fmla="*/ 1467303 w 5593163"/>
              <a:gd name="connsiteY684" fmla="*/ 354103 h 4305008"/>
              <a:gd name="connsiteX685" fmla="*/ 1467808 w 5593163"/>
              <a:gd name="connsiteY685" fmla="*/ 354040 h 4305008"/>
              <a:gd name="connsiteX686" fmla="*/ 1552022 w 5593163"/>
              <a:gd name="connsiteY686" fmla="*/ 96778 h 4305008"/>
              <a:gd name="connsiteX687" fmla="*/ 1614656 w 5593163"/>
              <a:gd name="connsiteY687" fmla="*/ 0 h 4305008"/>
              <a:gd name="connsiteX688" fmla="*/ 1783031 w 5593163"/>
              <a:gd name="connsiteY688" fmla="*/ 0 h 4305008"/>
              <a:gd name="connsiteX689" fmla="*/ 1714803 w 5593163"/>
              <a:gd name="connsiteY689" fmla="*/ 76659 h 4305008"/>
              <a:gd name="connsiteX690" fmla="*/ 1601295 w 5593163"/>
              <a:gd name="connsiteY690" fmla="*/ 337433 h 4305008"/>
              <a:gd name="connsiteX691" fmla="*/ 2040269 w 5593163"/>
              <a:gd name="connsiteY691" fmla="*/ 44350 h 4305008"/>
              <a:gd name="connsiteX692" fmla="*/ 2062497 w 5593163"/>
              <a:gd name="connsiteY692" fmla="*/ 0 h 4305008"/>
              <a:gd name="connsiteX693" fmla="*/ 2211135 w 5593163"/>
              <a:gd name="connsiteY693" fmla="*/ 0 h 4305008"/>
              <a:gd name="connsiteX694" fmla="*/ 2159296 w 5593163"/>
              <a:gd name="connsiteY694" fmla="*/ 95636 h 4305008"/>
              <a:gd name="connsiteX695" fmla="*/ 1587923 w 5593163"/>
              <a:gd name="connsiteY695" fmla="*/ 467856 h 4305008"/>
              <a:gd name="connsiteX696" fmla="*/ 1587807 w 5593163"/>
              <a:gd name="connsiteY696" fmla="*/ 468995 h 4305008"/>
              <a:gd name="connsiteX697" fmla="*/ 1571591 w 5593163"/>
              <a:gd name="connsiteY697" fmla="*/ 470523 h 4305008"/>
              <a:gd name="connsiteX698" fmla="*/ 1476164 w 5593163"/>
              <a:gd name="connsiteY698" fmla="*/ 479514 h 4305008"/>
              <a:gd name="connsiteX699" fmla="*/ 1459046 w 5593163"/>
              <a:gd name="connsiteY699" fmla="*/ 481127 h 4305008"/>
              <a:gd name="connsiteX700" fmla="*/ 1459020 w 5593163"/>
              <a:gd name="connsiteY700" fmla="*/ 480636 h 4305008"/>
              <a:gd name="connsiteX701" fmla="*/ 1458521 w 5593163"/>
              <a:gd name="connsiteY701" fmla="*/ 480669 h 4305008"/>
              <a:gd name="connsiteX702" fmla="*/ 1457928 w 5593163"/>
              <a:gd name="connsiteY702" fmla="*/ 469318 h 4305008"/>
              <a:gd name="connsiteX703" fmla="*/ 1457928 w 5593163"/>
              <a:gd name="connsiteY703" fmla="*/ 2166144 h 4305008"/>
              <a:gd name="connsiteX704" fmla="*/ 1459298 w 5593163"/>
              <a:gd name="connsiteY704" fmla="*/ 2149296 h 4305008"/>
              <a:gd name="connsiteX705" fmla="*/ 1466762 w 5593163"/>
              <a:gd name="connsiteY705" fmla="*/ 2057565 h 4305008"/>
              <a:gd name="connsiteX706" fmla="*/ 1467303 w 5593163"/>
              <a:gd name="connsiteY706" fmla="*/ 2050928 h 4305008"/>
              <a:gd name="connsiteX707" fmla="*/ 1467808 w 5593163"/>
              <a:gd name="connsiteY707" fmla="*/ 2050865 h 4305008"/>
              <a:gd name="connsiteX708" fmla="*/ 2157974 w 5593163"/>
              <a:gd name="connsiteY708" fmla="*/ 1363267 h 4305008"/>
              <a:gd name="connsiteX709" fmla="*/ 2158091 w 5593163"/>
              <a:gd name="connsiteY709" fmla="*/ 1362128 h 4305008"/>
              <a:gd name="connsiteX710" fmla="*/ 2174304 w 5593163"/>
              <a:gd name="connsiteY710" fmla="*/ 1360601 h 4305008"/>
              <a:gd name="connsiteX711" fmla="*/ 2269765 w 5593163"/>
              <a:gd name="connsiteY711" fmla="*/ 1351607 h 4305008"/>
              <a:gd name="connsiteX712" fmla="*/ 2286853 w 5593163"/>
              <a:gd name="connsiteY712" fmla="*/ 1349997 h 4305008"/>
              <a:gd name="connsiteX713" fmla="*/ 2286879 w 5593163"/>
              <a:gd name="connsiteY713" fmla="*/ 1350487 h 4305008"/>
              <a:gd name="connsiteX714" fmla="*/ 2287377 w 5593163"/>
              <a:gd name="connsiteY714" fmla="*/ 1350455 h 4305008"/>
              <a:gd name="connsiteX715" fmla="*/ 2287971 w 5593163"/>
              <a:gd name="connsiteY715" fmla="*/ 1361805 h 4305008"/>
              <a:gd name="connsiteX716" fmla="*/ 2286600 w 5593163"/>
              <a:gd name="connsiteY716" fmla="*/ 1378647 h 4305008"/>
              <a:gd name="connsiteX717" fmla="*/ 2279133 w 5593163"/>
              <a:gd name="connsiteY717" fmla="*/ 1470397 h 4305008"/>
              <a:gd name="connsiteX718" fmla="*/ 2278595 w 5593163"/>
              <a:gd name="connsiteY718" fmla="*/ 1477021 h 4305008"/>
              <a:gd name="connsiteX719" fmla="*/ 2278089 w 5593163"/>
              <a:gd name="connsiteY719" fmla="*/ 1477083 h 4305008"/>
              <a:gd name="connsiteX720" fmla="*/ 1587923 w 5593163"/>
              <a:gd name="connsiteY720" fmla="*/ 2164681 h 4305008"/>
              <a:gd name="connsiteX721" fmla="*/ 1587807 w 5593163"/>
              <a:gd name="connsiteY721" fmla="*/ 2165820 h 4305008"/>
              <a:gd name="connsiteX722" fmla="*/ 1571591 w 5593163"/>
              <a:gd name="connsiteY722" fmla="*/ 2167348 h 4305008"/>
              <a:gd name="connsiteX723" fmla="*/ 1476164 w 5593163"/>
              <a:gd name="connsiteY723" fmla="*/ 2176339 h 4305008"/>
              <a:gd name="connsiteX724" fmla="*/ 1459046 w 5593163"/>
              <a:gd name="connsiteY724" fmla="*/ 2177952 h 4305008"/>
              <a:gd name="connsiteX725" fmla="*/ 1459020 w 5593163"/>
              <a:gd name="connsiteY725" fmla="*/ 2177461 h 4305008"/>
              <a:gd name="connsiteX726" fmla="*/ 1458521 w 5593163"/>
              <a:gd name="connsiteY726" fmla="*/ 2177494 h 4305008"/>
              <a:gd name="connsiteX727" fmla="*/ 1457928 w 5593163"/>
              <a:gd name="connsiteY727" fmla="*/ 2166144 h 4305008"/>
              <a:gd name="connsiteX728" fmla="*/ 1457928 w 5593163"/>
              <a:gd name="connsiteY728" fmla="*/ 3862969 h 4305008"/>
              <a:gd name="connsiteX729" fmla="*/ 1459298 w 5593163"/>
              <a:gd name="connsiteY729" fmla="*/ 3846121 h 4305008"/>
              <a:gd name="connsiteX730" fmla="*/ 1466762 w 5593163"/>
              <a:gd name="connsiteY730" fmla="*/ 3754390 h 4305008"/>
              <a:gd name="connsiteX731" fmla="*/ 1467303 w 5593163"/>
              <a:gd name="connsiteY731" fmla="*/ 3747753 h 4305008"/>
              <a:gd name="connsiteX732" fmla="*/ 1467808 w 5593163"/>
              <a:gd name="connsiteY732" fmla="*/ 3747690 h 4305008"/>
              <a:gd name="connsiteX733" fmla="*/ 2157974 w 5593163"/>
              <a:gd name="connsiteY733" fmla="*/ 3060092 h 4305008"/>
              <a:gd name="connsiteX734" fmla="*/ 2158091 w 5593163"/>
              <a:gd name="connsiteY734" fmla="*/ 3058953 h 4305008"/>
              <a:gd name="connsiteX735" fmla="*/ 2174304 w 5593163"/>
              <a:gd name="connsiteY735" fmla="*/ 3057426 h 4305008"/>
              <a:gd name="connsiteX736" fmla="*/ 2269765 w 5593163"/>
              <a:gd name="connsiteY736" fmla="*/ 3048432 h 4305008"/>
              <a:gd name="connsiteX737" fmla="*/ 2286853 w 5593163"/>
              <a:gd name="connsiteY737" fmla="*/ 3046822 h 4305008"/>
              <a:gd name="connsiteX738" fmla="*/ 2286879 w 5593163"/>
              <a:gd name="connsiteY738" fmla="*/ 3047312 h 4305008"/>
              <a:gd name="connsiteX739" fmla="*/ 2287377 w 5593163"/>
              <a:gd name="connsiteY739" fmla="*/ 3047280 h 4305008"/>
              <a:gd name="connsiteX740" fmla="*/ 2287971 w 5593163"/>
              <a:gd name="connsiteY740" fmla="*/ 3058630 h 4305008"/>
              <a:gd name="connsiteX741" fmla="*/ 2286600 w 5593163"/>
              <a:gd name="connsiteY741" fmla="*/ 3075472 h 4305008"/>
              <a:gd name="connsiteX742" fmla="*/ 2279133 w 5593163"/>
              <a:gd name="connsiteY742" fmla="*/ 3167222 h 4305008"/>
              <a:gd name="connsiteX743" fmla="*/ 2278595 w 5593163"/>
              <a:gd name="connsiteY743" fmla="*/ 3173846 h 4305008"/>
              <a:gd name="connsiteX744" fmla="*/ 2278089 w 5593163"/>
              <a:gd name="connsiteY744" fmla="*/ 3173908 h 4305008"/>
              <a:gd name="connsiteX745" fmla="*/ 1587923 w 5593163"/>
              <a:gd name="connsiteY745" fmla="*/ 3861506 h 4305008"/>
              <a:gd name="connsiteX746" fmla="*/ 1587807 w 5593163"/>
              <a:gd name="connsiteY746" fmla="*/ 3862645 h 4305008"/>
              <a:gd name="connsiteX747" fmla="*/ 1571591 w 5593163"/>
              <a:gd name="connsiteY747" fmla="*/ 3864173 h 4305008"/>
              <a:gd name="connsiteX748" fmla="*/ 1476164 w 5593163"/>
              <a:gd name="connsiteY748" fmla="*/ 3873164 h 4305008"/>
              <a:gd name="connsiteX749" fmla="*/ 1459046 w 5593163"/>
              <a:gd name="connsiteY749" fmla="*/ 3874777 h 4305008"/>
              <a:gd name="connsiteX750" fmla="*/ 1459020 w 5593163"/>
              <a:gd name="connsiteY750" fmla="*/ 3874286 h 4305008"/>
              <a:gd name="connsiteX751" fmla="*/ 1458521 w 5593163"/>
              <a:gd name="connsiteY751" fmla="*/ 3874319 h 4305008"/>
              <a:gd name="connsiteX752" fmla="*/ 1457928 w 5593163"/>
              <a:gd name="connsiteY752" fmla="*/ 3862969 h 4305008"/>
              <a:gd name="connsiteX753" fmla="*/ 750739 w 5593163"/>
              <a:gd name="connsiteY753" fmla="*/ 1181049 h 4305008"/>
              <a:gd name="connsiteX754" fmla="*/ 1294048 w 5593163"/>
              <a:gd name="connsiteY754" fmla="*/ 636203 h 4305008"/>
              <a:gd name="connsiteX755" fmla="*/ 750739 w 5593163"/>
              <a:gd name="connsiteY755" fmla="*/ 1181049 h 4305008"/>
              <a:gd name="connsiteX756" fmla="*/ 750739 w 5593163"/>
              <a:gd name="connsiteY756" fmla="*/ 1493690 h 4305008"/>
              <a:gd name="connsiteX757" fmla="*/ 1294048 w 5593163"/>
              <a:gd name="connsiteY757" fmla="*/ 2034258 h 4305008"/>
              <a:gd name="connsiteX758" fmla="*/ 750739 w 5593163"/>
              <a:gd name="connsiteY758" fmla="*/ 1493690 h 4305008"/>
              <a:gd name="connsiteX759" fmla="*/ 750739 w 5593163"/>
              <a:gd name="connsiteY759" fmla="*/ 2877874 h 4305008"/>
              <a:gd name="connsiteX760" fmla="*/ 1294048 w 5593163"/>
              <a:gd name="connsiteY760" fmla="*/ 2333028 h 4305008"/>
              <a:gd name="connsiteX761" fmla="*/ 750739 w 5593163"/>
              <a:gd name="connsiteY761" fmla="*/ 2877874 h 4305008"/>
              <a:gd name="connsiteX762" fmla="*/ 750739 w 5593163"/>
              <a:gd name="connsiteY762" fmla="*/ 3190516 h 4305008"/>
              <a:gd name="connsiteX763" fmla="*/ 1294048 w 5593163"/>
              <a:gd name="connsiteY763" fmla="*/ 3731083 h 4305008"/>
              <a:gd name="connsiteX764" fmla="*/ 750739 w 5593163"/>
              <a:gd name="connsiteY764" fmla="*/ 3190516 h 4305008"/>
              <a:gd name="connsiteX765" fmla="*/ 718720 w 5593163"/>
              <a:gd name="connsiteY765" fmla="*/ 4305008 h 4305008"/>
              <a:gd name="connsiteX766" fmla="*/ 747165 w 5593163"/>
              <a:gd name="connsiteY766" fmla="*/ 4255797 h 4305008"/>
              <a:gd name="connsiteX767" fmla="*/ 1307418 w 5593163"/>
              <a:gd name="connsiteY767" fmla="*/ 3898397 h 4305008"/>
              <a:gd name="connsiteX768" fmla="*/ 1307535 w 5593163"/>
              <a:gd name="connsiteY768" fmla="*/ 3897249 h 4305008"/>
              <a:gd name="connsiteX769" fmla="*/ 1323748 w 5593163"/>
              <a:gd name="connsiteY769" fmla="*/ 3895710 h 4305008"/>
              <a:gd name="connsiteX770" fmla="*/ 1419209 w 5593163"/>
              <a:gd name="connsiteY770" fmla="*/ 3886645 h 4305008"/>
              <a:gd name="connsiteX771" fmla="*/ 1436297 w 5593163"/>
              <a:gd name="connsiteY771" fmla="*/ 3885022 h 4305008"/>
              <a:gd name="connsiteX772" fmla="*/ 1436323 w 5593163"/>
              <a:gd name="connsiteY772" fmla="*/ 3885516 h 4305008"/>
              <a:gd name="connsiteX773" fmla="*/ 1436821 w 5593163"/>
              <a:gd name="connsiteY773" fmla="*/ 3885483 h 4305008"/>
              <a:gd name="connsiteX774" fmla="*/ 1437415 w 5593163"/>
              <a:gd name="connsiteY774" fmla="*/ 3896923 h 4305008"/>
              <a:gd name="connsiteX775" fmla="*/ 1436044 w 5593163"/>
              <a:gd name="connsiteY775" fmla="*/ 3913899 h 4305008"/>
              <a:gd name="connsiteX776" fmla="*/ 1428577 w 5593163"/>
              <a:gd name="connsiteY776" fmla="*/ 4006375 h 4305008"/>
              <a:gd name="connsiteX777" fmla="*/ 1428039 w 5593163"/>
              <a:gd name="connsiteY777" fmla="*/ 4013051 h 4305008"/>
              <a:gd name="connsiteX778" fmla="*/ 1427533 w 5593163"/>
              <a:gd name="connsiteY778" fmla="*/ 4013114 h 4305008"/>
              <a:gd name="connsiteX779" fmla="*/ 1352416 w 5593163"/>
              <a:gd name="connsiteY779" fmla="*/ 4254710 h 4305008"/>
              <a:gd name="connsiteX780" fmla="*/ 1322295 w 5593163"/>
              <a:gd name="connsiteY780" fmla="*/ 4305008 h 4305008"/>
              <a:gd name="connsiteX781" fmla="*/ 1168185 w 5593163"/>
              <a:gd name="connsiteY781" fmla="*/ 4305008 h 4305008"/>
              <a:gd name="connsiteX782" fmla="*/ 1194867 w 5593163"/>
              <a:gd name="connsiteY782" fmla="*/ 4271827 h 4305008"/>
              <a:gd name="connsiteX783" fmla="*/ 1294048 w 5593163"/>
              <a:gd name="connsiteY783" fmla="*/ 4029853 h 4305008"/>
              <a:gd name="connsiteX784" fmla="*/ 921894 w 5593163"/>
              <a:gd name="connsiteY784" fmla="*/ 4241205 h 4305008"/>
              <a:gd name="connsiteX785" fmla="*/ 869771 w 5593163"/>
              <a:gd name="connsiteY785" fmla="*/ 4305008 h 4305008"/>
              <a:gd name="connsiteX786" fmla="*/ 684209 w 5593163"/>
              <a:gd name="connsiteY786" fmla="*/ 0 h 4305008"/>
              <a:gd name="connsiteX787" fmla="*/ 832847 w 5593163"/>
              <a:gd name="connsiteY787" fmla="*/ 0 h 4305008"/>
              <a:gd name="connsiteX788" fmla="*/ 855075 w 5593163"/>
              <a:gd name="connsiteY788" fmla="*/ 44350 h 4305008"/>
              <a:gd name="connsiteX789" fmla="*/ 1294048 w 5593163"/>
              <a:gd name="connsiteY789" fmla="*/ 337433 h 4305008"/>
              <a:gd name="connsiteX790" fmla="*/ 1180541 w 5593163"/>
              <a:gd name="connsiteY790" fmla="*/ 76659 h 4305008"/>
              <a:gd name="connsiteX791" fmla="*/ 1112313 w 5593163"/>
              <a:gd name="connsiteY791" fmla="*/ 0 h 4305008"/>
              <a:gd name="connsiteX792" fmla="*/ 1280688 w 5593163"/>
              <a:gd name="connsiteY792" fmla="*/ 0 h 4305008"/>
              <a:gd name="connsiteX793" fmla="*/ 1343322 w 5593163"/>
              <a:gd name="connsiteY793" fmla="*/ 96778 h 4305008"/>
              <a:gd name="connsiteX794" fmla="*/ 1427534 w 5593163"/>
              <a:gd name="connsiteY794" fmla="*/ 354040 h 4305008"/>
              <a:gd name="connsiteX795" fmla="*/ 1428040 w 5593163"/>
              <a:gd name="connsiteY795" fmla="*/ 354102 h 4305008"/>
              <a:gd name="connsiteX796" fmla="*/ 1428580 w 5593163"/>
              <a:gd name="connsiteY796" fmla="*/ 360740 h 4305008"/>
              <a:gd name="connsiteX797" fmla="*/ 1436044 w 5593163"/>
              <a:gd name="connsiteY797" fmla="*/ 452471 h 4305008"/>
              <a:gd name="connsiteX798" fmla="*/ 1437415 w 5593163"/>
              <a:gd name="connsiteY798" fmla="*/ 469318 h 4305008"/>
              <a:gd name="connsiteX799" fmla="*/ 1436822 w 5593163"/>
              <a:gd name="connsiteY799" fmla="*/ 480669 h 4305008"/>
              <a:gd name="connsiteX800" fmla="*/ 1436323 w 5593163"/>
              <a:gd name="connsiteY800" fmla="*/ 480636 h 4305008"/>
              <a:gd name="connsiteX801" fmla="*/ 1436297 w 5593163"/>
              <a:gd name="connsiteY801" fmla="*/ 481127 h 4305008"/>
              <a:gd name="connsiteX802" fmla="*/ 1419178 w 5593163"/>
              <a:gd name="connsiteY802" fmla="*/ 479514 h 4305008"/>
              <a:gd name="connsiteX803" fmla="*/ 1323752 w 5593163"/>
              <a:gd name="connsiteY803" fmla="*/ 470523 h 4305008"/>
              <a:gd name="connsiteX804" fmla="*/ 1307535 w 5593163"/>
              <a:gd name="connsiteY804" fmla="*/ 468995 h 4305008"/>
              <a:gd name="connsiteX805" fmla="*/ 1307419 w 5593163"/>
              <a:gd name="connsiteY805" fmla="*/ 467856 h 4305008"/>
              <a:gd name="connsiteX806" fmla="*/ 736048 w 5593163"/>
              <a:gd name="connsiteY806" fmla="*/ 95636 h 4305008"/>
              <a:gd name="connsiteX807" fmla="*/ 607372 w 5593163"/>
              <a:gd name="connsiteY807" fmla="*/ 1313979 h 4305008"/>
              <a:gd name="connsiteX808" fmla="*/ 608742 w 5593163"/>
              <a:gd name="connsiteY808" fmla="*/ 1296998 h 4305008"/>
              <a:gd name="connsiteX809" fmla="*/ 616206 w 5593163"/>
              <a:gd name="connsiteY809" fmla="*/ 1204541 h 4305008"/>
              <a:gd name="connsiteX810" fmla="*/ 616747 w 5593163"/>
              <a:gd name="connsiteY810" fmla="*/ 1197851 h 4305008"/>
              <a:gd name="connsiteX811" fmla="*/ 617252 w 5593163"/>
              <a:gd name="connsiteY811" fmla="*/ 1197788 h 4305008"/>
              <a:gd name="connsiteX812" fmla="*/ 1307418 w 5593163"/>
              <a:gd name="connsiteY812" fmla="*/ 504747 h 4305008"/>
              <a:gd name="connsiteX813" fmla="*/ 1307535 w 5593163"/>
              <a:gd name="connsiteY813" fmla="*/ 503599 h 4305008"/>
              <a:gd name="connsiteX814" fmla="*/ 1323748 w 5593163"/>
              <a:gd name="connsiteY814" fmla="*/ 502060 h 4305008"/>
              <a:gd name="connsiteX815" fmla="*/ 1419209 w 5593163"/>
              <a:gd name="connsiteY815" fmla="*/ 492995 h 4305008"/>
              <a:gd name="connsiteX816" fmla="*/ 1436297 w 5593163"/>
              <a:gd name="connsiteY816" fmla="*/ 491372 h 4305008"/>
              <a:gd name="connsiteX817" fmla="*/ 1436323 w 5593163"/>
              <a:gd name="connsiteY817" fmla="*/ 491866 h 4305008"/>
              <a:gd name="connsiteX818" fmla="*/ 1436821 w 5593163"/>
              <a:gd name="connsiteY818" fmla="*/ 491833 h 4305008"/>
              <a:gd name="connsiteX819" fmla="*/ 1437415 w 5593163"/>
              <a:gd name="connsiteY819" fmla="*/ 503273 h 4305008"/>
              <a:gd name="connsiteX820" fmla="*/ 1436044 w 5593163"/>
              <a:gd name="connsiteY820" fmla="*/ 520249 h 4305008"/>
              <a:gd name="connsiteX821" fmla="*/ 1428577 w 5593163"/>
              <a:gd name="connsiteY821" fmla="*/ 612725 h 4305008"/>
              <a:gd name="connsiteX822" fmla="*/ 1428039 w 5593163"/>
              <a:gd name="connsiteY822" fmla="*/ 619401 h 4305008"/>
              <a:gd name="connsiteX823" fmla="*/ 1427533 w 5593163"/>
              <a:gd name="connsiteY823" fmla="*/ 619464 h 4305008"/>
              <a:gd name="connsiteX824" fmla="*/ 737367 w 5593163"/>
              <a:gd name="connsiteY824" fmla="*/ 1312505 h 4305008"/>
              <a:gd name="connsiteX825" fmla="*/ 737251 w 5593163"/>
              <a:gd name="connsiteY825" fmla="*/ 1313653 h 4305008"/>
              <a:gd name="connsiteX826" fmla="*/ 721035 w 5593163"/>
              <a:gd name="connsiteY826" fmla="*/ 1315193 h 4305008"/>
              <a:gd name="connsiteX827" fmla="*/ 625608 w 5593163"/>
              <a:gd name="connsiteY827" fmla="*/ 1324255 h 4305008"/>
              <a:gd name="connsiteX828" fmla="*/ 608490 w 5593163"/>
              <a:gd name="connsiteY828" fmla="*/ 1325881 h 4305008"/>
              <a:gd name="connsiteX829" fmla="*/ 608464 w 5593163"/>
              <a:gd name="connsiteY829" fmla="*/ 1325386 h 4305008"/>
              <a:gd name="connsiteX830" fmla="*/ 607965 w 5593163"/>
              <a:gd name="connsiteY830" fmla="*/ 1325419 h 4305008"/>
              <a:gd name="connsiteX831" fmla="*/ 607372 w 5593163"/>
              <a:gd name="connsiteY831" fmla="*/ 1313979 h 4305008"/>
              <a:gd name="connsiteX832" fmla="*/ 607372 w 5593163"/>
              <a:gd name="connsiteY832" fmla="*/ 1361805 h 4305008"/>
              <a:gd name="connsiteX833" fmla="*/ 607966 w 5593163"/>
              <a:gd name="connsiteY833" fmla="*/ 1350455 h 4305008"/>
              <a:gd name="connsiteX834" fmla="*/ 608464 w 5593163"/>
              <a:gd name="connsiteY834" fmla="*/ 1350487 h 4305008"/>
              <a:gd name="connsiteX835" fmla="*/ 608490 w 5593163"/>
              <a:gd name="connsiteY835" fmla="*/ 1349997 h 4305008"/>
              <a:gd name="connsiteX836" fmla="*/ 625577 w 5593163"/>
              <a:gd name="connsiteY836" fmla="*/ 1351607 h 4305008"/>
              <a:gd name="connsiteX837" fmla="*/ 721039 w 5593163"/>
              <a:gd name="connsiteY837" fmla="*/ 1360601 h 4305008"/>
              <a:gd name="connsiteX838" fmla="*/ 737251 w 5593163"/>
              <a:gd name="connsiteY838" fmla="*/ 1362128 h 4305008"/>
              <a:gd name="connsiteX839" fmla="*/ 737368 w 5593163"/>
              <a:gd name="connsiteY839" fmla="*/ 1363267 h 4305008"/>
              <a:gd name="connsiteX840" fmla="*/ 1427534 w 5593163"/>
              <a:gd name="connsiteY840" fmla="*/ 2050865 h 4305008"/>
              <a:gd name="connsiteX841" fmla="*/ 1428040 w 5593163"/>
              <a:gd name="connsiteY841" fmla="*/ 2050928 h 4305008"/>
              <a:gd name="connsiteX842" fmla="*/ 1428580 w 5593163"/>
              <a:gd name="connsiteY842" fmla="*/ 2057565 h 4305008"/>
              <a:gd name="connsiteX843" fmla="*/ 1436044 w 5593163"/>
              <a:gd name="connsiteY843" fmla="*/ 2149296 h 4305008"/>
              <a:gd name="connsiteX844" fmla="*/ 1437415 w 5593163"/>
              <a:gd name="connsiteY844" fmla="*/ 2166144 h 4305008"/>
              <a:gd name="connsiteX845" fmla="*/ 1436822 w 5593163"/>
              <a:gd name="connsiteY845" fmla="*/ 2177494 h 4305008"/>
              <a:gd name="connsiteX846" fmla="*/ 1436323 w 5593163"/>
              <a:gd name="connsiteY846" fmla="*/ 2177461 h 4305008"/>
              <a:gd name="connsiteX847" fmla="*/ 1436297 w 5593163"/>
              <a:gd name="connsiteY847" fmla="*/ 2177952 h 4305008"/>
              <a:gd name="connsiteX848" fmla="*/ 1419178 w 5593163"/>
              <a:gd name="connsiteY848" fmla="*/ 2176339 h 4305008"/>
              <a:gd name="connsiteX849" fmla="*/ 1323752 w 5593163"/>
              <a:gd name="connsiteY849" fmla="*/ 2167348 h 4305008"/>
              <a:gd name="connsiteX850" fmla="*/ 1307535 w 5593163"/>
              <a:gd name="connsiteY850" fmla="*/ 2165820 h 4305008"/>
              <a:gd name="connsiteX851" fmla="*/ 1307419 w 5593163"/>
              <a:gd name="connsiteY851" fmla="*/ 2164681 h 4305008"/>
              <a:gd name="connsiteX852" fmla="*/ 617253 w 5593163"/>
              <a:gd name="connsiteY852" fmla="*/ 1477083 h 4305008"/>
              <a:gd name="connsiteX853" fmla="*/ 616748 w 5593163"/>
              <a:gd name="connsiteY853" fmla="*/ 1477021 h 4305008"/>
              <a:gd name="connsiteX854" fmla="*/ 616209 w 5593163"/>
              <a:gd name="connsiteY854" fmla="*/ 1470397 h 4305008"/>
              <a:gd name="connsiteX855" fmla="*/ 608742 w 5593163"/>
              <a:gd name="connsiteY855" fmla="*/ 1378647 h 4305008"/>
              <a:gd name="connsiteX856" fmla="*/ 607372 w 5593163"/>
              <a:gd name="connsiteY856" fmla="*/ 1361805 h 4305008"/>
              <a:gd name="connsiteX857" fmla="*/ 607372 w 5593163"/>
              <a:gd name="connsiteY857" fmla="*/ 3010804 h 4305008"/>
              <a:gd name="connsiteX858" fmla="*/ 608742 w 5593163"/>
              <a:gd name="connsiteY858" fmla="*/ 2993823 h 4305008"/>
              <a:gd name="connsiteX859" fmla="*/ 616206 w 5593163"/>
              <a:gd name="connsiteY859" fmla="*/ 2901366 h 4305008"/>
              <a:gd name="connsiteX860" fmla="*/ 616747 w 5593163"/>
              <a:gd name="connsiteY860" fmla="*/ 2894676 h 4305008"/>
              <a:gd name="connsiteX861" fmla="*/ 617252 w 5593163"/>
              <a:gd name="connsiteY861" fmla="*/ 2894613 h 4305008"/>
              <a:gd name="connsiteX862" fmla="*/ 1307418 w 5593163"/>
              <a:gd name="connsiteY862" fmla="*/ 2201572 h 4305008"/>
              <a:gd name="connsiteX863" fmla="*/ 1307535 w 5593163"/>
              <a:gd name="connsiteY863" fmla="*/ 2200424 h 4305008"/>
              <a:gd name="connsiteX864" fmla="*/ 1323748 w 5593163"/>
              <a:gd name="connsiteY864" fmla="*/ 2198885 h 4305008"/>
              <a:gd name="connsiteX865" fmla="*/ 1419209 w 5593163"/>
              <a:gd name="connsiteY865" fmla="*/ 2189820 h 4305008"/>
              <a:gd name="connsiteX866" fmla="*/ 1436297 w 5593163"/>
              <a:gd name="connsiteY866" fmla="*/ 2188197 h 4305008"/>
              <a:gd name="connsiteX867" fmla="*/ 1436323 w 5593163"/>
              <a:gd name="connsiteY867" fmla="*/ 2188691 h 4305008"/>
              <a:gd name="connsiteX868" fmla="*/ 1436821 w 5593163"/>
              <a:gd name="connsiteY868" fmla="*/ 2188658 h 4305008"/>
              <a:gd name="connsiteX869" fmla="*/ 1437415 w 5593163"/>
              <a:gd name="connsiteY869" fmla="*/ 2200098 h 4305008"/>
              <a:gd name="connsiteX870" fmla="*/ 1436044 w 5593163"/>
              <a:gd name="connsiteY870" fmla="*/ 2217074 h 4305008"/>
              <a:gd name="connsiteX871" fmla="*/ 1428577 w 5593163"/>
              <a:gd name="connsiteY871" fmla="*/ 2309550 h 4305008"/>
              <a:gd name="connsiteX872" fmla="*/ 1428039 w 5593163"/>
              <a:gd name="connsiteY872" fmla="*/ 2316226 h 4305008"/>
              <a:gd name="connsiteX873" fmla="*/ 1427533 w 5593163"/>
              <a:gd name="connsiteY873" fmla="*/ 2316289 h 4305008"/>
              <a:gd name="connsiteX874" fmla="*/ 737367 w 5593163"/>
              <a:gd name="connsiteY874" fmla="*/ 3009330 h 4305008"/>
              <a:gd name="connsiteX875" fmla="*/ 737251 w 5593163"/>
              <a:gd name="connsiteY875" fmla="*/ 3010478 h 4305008"/>
              <a:gd name="connsiteX876" fmla="*/ 721035 w 5593163"/>
              <a:gd name="connsiteY876" fmla="*/ 3012018 h 4305008"/>
              <a:gd name="connsiteX877" fmla="*/ 625608 w 5593163"/>
              <a:gd name="connsiteY877" fmla="*/ 3021080 h 4305008"/>
              <a:gd name="connsiteX878" fmla="*/ 608490 w 5593163"/>
              <a:gd name="connsiteY878" fmla="*/ 3022706 h 4305008"/>
              <a:gd name="connsiteX879" fmla="*/ 608464 w 5593163"/>
              <a:gd name="connsiteY879" fmla="*/ 3022211 h 4305008"/>
              <a:gd name="connsiteX880" fmla="*/ 607965 w 5593163"/>
              <a:gd name="connsiteY880" fmla="*/ 3022244 h 4305008"/>
              <a:gd name="connsiteX881" fmla="*/ 607372 w 5593163"/>
              <a:gd name="connsiteY881" fmla="*/ 3010804 h 4305008"/>
              <a:gd name="connsiteX882" fmla="*/ 607372 w 5593163"/>
              <a:gd name="connsiteY882" fmla="*/ 3058630 h 4305008"/>
              <a:gd name="connsiteX883" fmla="*/ 607966 w 5593163"/>
              <a:gd name="connsiteY883" fmla="*/ 3047280 h 4305008"/>
              <a:gd name="connsiteX884" fmla="*/ 608464 w 5593163"/>
              <a:gd name="connsiteY884" fmla="*/ 3047312 h 4305008"/>
              <a:gd name="connsiteX885" fmla="*/ 608490 w 5593163"/>
              <a:gd name="connsiteY885" fmla="*/ 3046822 h 4305008"/>
              <a:gd name="connsiteX886" fmla="*/ 625577 w 5593163"/>
              <a:gd name="connsiteY886" fmla="*/ 3048432 h 4305008"/>
              <a:gd name="connsiteX887" fmla="*/ 721039 w 5593163"/>
              <a:gd name="connsiteY887" fmla="*/ 3057426 h 4305008"/>
              <a:gd name="connsiteX888" fmla="*/ 737251 w 5593163"/>
              <a:gd name="connsiteY888" fmla="*/ 3058953 h 4305008"/>
              <a:gd name="connsiteX889" fmla="*/ 737368 w 5593163"/>
              <a:gd name="connsiteY889" fmla="*/ 3060092 h 4305008"/>
              <a:gd name="connsiteX890" fmla="*/ 1427534 w 5593163"/>
              <a:gd name="connsiteY890" fmla="*/ 3747690 h 4305008"/>
              <a:gd name="connsiteX891" fmla="*/ 1428040 w 5593163"/>
              <a:gd name="connsiteY891" fmla="*/ 3747753 h 4305008"/>
              <a:gd name="connsiteX892" fmla="*/ 1428580 w 5593163"/>
              <a:gd name="connsiteY892" fmla="*/ 3754390 h 4305008"/>
              <a:gd name="connsiteX893" fmla="*/ 1436044 w 5593163"/>
              <a:gd name="connsiteY893" fmla="*/ 3846121 h 4305008"/>
              <a:gd name="connsiteX894" fmla="*/ 1437415 w 5593163"/>
              <a:gd name="connsiteY894" fmla="*/ 3862969 h 4305008"/>
              <a:gd name="connsiteX895" fmla="*/ 1436822 w 5593163"/>
              <a:gd name="connsiteY895" fmla="*/ 3874319 h 4305008"/>
              <a:gd name="connsiteX896" fmla="*/ 1436323 w 5593163"/>
              <a:gd name="connsiteY896" fmla="*/ 3874286 h 4305008"/>
              <a:gd name="connsiteX897" fmla="*/ 1436297 w 5593163"/>
              <a:gd name="connsiteY897" fmla="*/ 3874777 h 4305008"/>
              <a:gd name="connsiteX898" fmla="*/ 1419178 w 5593163"/>
              <a:gd name="connsiteY898" fmla="*/ 3873164 h 4305008"/>
              <a:gd name="connsiteX899" fmla="*/ 1323752 w 5593163"/>
              <a:gd name="connsiteY899" fmla="*/ 3864173 h 4305008"/>
              <a:gd name="connsiteX900" fmla="*/ 1307535 w 5593163"/>
              <a:gd name="connsiteY900" fmla="*/ 3862645 h 4305008"/>
              <a:gd name="connsiteX901" fmla="*/ 1307419 w 5593163"/>
              <a:gd name="connsiteY901" fmla="*/ 3861506 h 4305008"/>
              <a:gd name="connsiteX902" fmla="*/ 617253 w 5593163"/>
              <a:gd name="connsiteY902" fmla="*/ 3173908 h 4305008"/>
              <a:gd name="connsiteX903" fmla="*/ 616748 w 5593163"/>
              <a:gd name="connsiteY903" fmla="*/ 3173846 h 4305008"/>
              <a:gd name="connsiteX904" fmla="*/ 616209 w 5593163"/>
              <a:gd name="connsiteY904" fmla="*/ 3167222 h 4305008"/>
              <a:gd name="connsiteX905" fmla="*/ 608742 w 5593163"/>
              <a:gd name="connsiteY905" fmla="*/ 3075472 h 4305008"/>
              <a:gd name="connsiteX906" fmla="*/ 607372 w 5593163"/>
              <a:gd name="connsiteY906" fmla="*/ 3058630 h 4305008"/>
              <a:gd name="connsiteX907" fmla="*/ 0 w 5593163"/>
              <a:gd name="connsiteY907" fmla="*/ 116373 h 4305008"/>
              <a:gd name="connsiteX908" fmla="*/ 0 w 5593163"/>
              <a:gd name="connsiteY908" fmla="*/ 0 h 4305008"/>
              <a:gd name="connsiteX909" fmla="*/ 90880 w 5593163"/>
              <a:gd name="connsiteY909" fmla="*/ 0 h 4305008"/>
              <a:gd name="connsiteX910" fmla="*/ 22652 w 5593163"/>
              <a:gd name="connsiteY910" fmla="*/ 76659 h 4305008"/>
              <a:gd name="connsiteX911" fmla="*/ 0 w 5593163"/>
              <a:gd name="connsiteY911" fmla="*/ 443121 h 4305008"/>
              <a:gd name="connsiteX912" fmla="*/ 0 w 5593163"/>
              <a:gd name="connsiteY912" fmla="*/ 311637 h 4305008"/>
              <a:gd name="connsiteX913" fmla="*/ 82171 w 5593163"/>
              <a:gd name="connsiteY913" fmla="*/ 276703 h 4305008"/>
              <a:gd name="connsiteX914" fmla="*/ 348118 w 5593163"/>
              <a:gd name="connsiteY914" fmla="*/ 44350 h 4305008"/>
              <a:gd name="connsiteX915" fmla="*/ 370347 w 5593163"/>
              <a:gd name="connsiteY915" fmla="*/ 0 h 4305008"/>
              <a:gd name="connsiteX916" fmla="*/ 518984 w 5593163"/>
              <a:gd name="connsiteY916" fmla="*/ 0 h 4305008"/>
              <a:gd name="connsiteX917" fmla="*/ 467145 w 5593163"/>
              <a:gd name="connsiteY917" fmla="*/ 95636 h 4305008"/>
              <a:gd name="connsiteX918" fmla="*/ 13323 w 5593163"/>
              <a:gd name="connsiteY918" fmla="*/ 439959 h 4305008"/>
              <a:gd name="connsiteX919" fmla="*/ 0 w 5593163"/>
              <a:gd name="connsiteY919" fmla="*/ 1070142 h 4305008"/>
              <a:gd name="connsiteX920" fmla="*/ 0 w 5593163"/>
              <a:gd name="connsiteY920" fmla="*/ 862064 h 4305008"/>
              <a:gd name="connsiteX921" fmla="*/ 31905 w 5593163"/>
              <a:gd name="connsiteY921" fmla="*/ 912052 h 4305008"/>
              <a:gd name="connsiteX922" fmla="*/ 452455 w 5593163"/>
              <a:gd name="connsiteY922" fmla="*/ 1181049 h 4305008"/>
              <a:gd name="connsiteX923" fmla="*/ 9316 w 5593163"/>
              <a:gd name="connsiteY923" fmla="*/ 665484 h 4305008"/>
              <a:gd name="connsiteX924" fmla="*/ 0 w 5593163"/>
              <a:gd name="connsiteY924" fmla="*/ 662760 h 4305008"/>
              <a:gd name="connsiteX925" fmla="*/ 0 w 5593163"/>
              <a:gd name="connsiteY925" fmla="*/ 530567 h 4305008"/>
              <a:gd name="connsiteX926" fmla="*/ 26399 w 5593163"/>
              <a:gd name="connsiteY926" fmla="*/ 537107 h 4305008"/>
              <a:gd name="connsiteX927" fmla="*/ 585941 w 5593163"/>
              <a:gd name="connsiteY927" fmla="*/ 1197788 h 4305008"/>
              <a:gd name="connsiteX928" fmla="*/ 586447 w 5593163"/>
              <a:gd name="connsiteY928" fmla="*/ 1197851 h 4305008"/>
              <a:gd name="connsiteX929" fmla="*/ 586987 w 5593163"/>
              <a:gd name="connsiteY929" fmla="*/ 1204541 h 4305008"/>
              <a:gd name="connsiteX930" fmla="*/ 594451 w 5593163"/>
              <a:gd name="connsiteY930" fmla="*/ 1296998 h 4305008"/>
              <a:gd name="connsiteX931" fmla="*/ 595822 w 5593163"/>
              <a:gd name="connsiteY931" fmla="*/ 1313979 h 4305008"/>
              <a:gd name="connsiteX932" fmla="*/ 595229 w 5593163"/>
              <a:gd name="connsiteY932" fmla="*/ 1325419 h 4305008"/>
              <a:gd name="connsiteX933" fmla="*/ 594730 w 5593163"/>
              <a:gd name="connsiteY933" fmla="*/ 1325386 h 4305008"/>
              <a:gd name="connsiteX934" fmla="*/ 594704 w 5593163"/>
              <a:gd name="connsiteY934" fmla="*/ 1325881 h 4305008"/>
              <a:gd name="connsiteX935" fmla="*/ 577585 w 5593163"/>
              <a:gd name="connsiteY935" fmla="*/ 1324255 h 4305008"/>
              <a:gd name="connsiteX936" fmla="*/ 482159 w 5593163"/>
              <a:gd name="connsiteY936" fmla="*/ 1315193 h 4305008"/>
              <a:gd name="connsiteX937" fmla="*/ 465942 w 5593163"/>
              <a:gd name="connsiteY937" fmla="*/ 1313653 h 4305008"/>
              <a:gd name="connsiteX938" fmla="*/ 465826 w 5593163"/>
              <a:gd name="connsiteY938" fmla="*/ 1312505 h 4305008"/>
              <a:gd name="connsiteX939" fmla="*/ 5028 w 5593163"/>
              <a:gd name="connsiteY939" fmla="*/ 1076034 h 4305008"/>
              <a:gd name="connsiteX940" fmla="*/ 0 w 5593163"/>
              <a:gd name="connsiteY940" fmla="*/ 2139063 h 4305008"/>
              <a:gd name="connsiteX941" fmla="*/ 0 w 5593163"/>
              <a:gd name="connsiteY941" fmla="*/ 2007909 h 4305008"/>
              <a:gd name="connsiteX942" fmla="*/ 9314 w 5593163"/>
              <a:gd name="connsiteY942" fmla="*/ 2005207 h 4305008"/>
              <a:gd name="connsiteX943" fmla="*/ 452453 w 5593163"/>
              <a:gd name="connsiteY943" fmla="*/ 1493690 h 4305008"/>
              <a:gd name="connsiteX944" fmla="*/ 31903 w 5593163"/>
              <a:gd name="connsiteY944" fmla="*/ 1760575 h 4305008"/>
              <a:gd name="connsiteX945" fmla="*/ 0 w 5593163"/>
              <a:gd name="connsiteY945" fmla="*/ 1810167 h 4305008"/>
              <a:gd name="connsiteX946" fmla="*/ 0 w 5593163"/>
              <a:gd name="connsiteY946" fmla="*/ 1603724 h 4305008"/>
              <a:gd name="connsiteX947" fmla="*/ 5025 w 5593163"/>
              <a:gd name="connsiteY947" fmla="*/ 1597880 h 4305008"/>
              <a:gd name="connsiteX948" fmla="*/ 465823 w 5593163"/>
              <a:gd name="connsiteY948" fmla="*/ 1363267 h 4305008"/>
              <a:gd name="connsiteX949" fmla="*/ 465940 w 5593163"/>
              <a:gd name="connsiteY949" fmla="*/ 1362128 h 4305008"/>
              <a:gd name="connsiteX950" fmla="*/ 482153 w 5593163"/>
              <a:gd name="connsiteY950" fmla="*/ 1360601 h 4305008"/>
              <a:gd name="connsiteX951" fmla="*/ 577614 w 5593163"/>
              <a:gd name="connsiteY951" fmla="*/ 1351607 h 4305008"/>
              <a:gd name="connsiteX952" fmla="*/ 594702 w 5593163"/>
              <a:gd name="connsiteY952" fmla="*/ 1349997 h 4305008"/>
              <a:gd name="connsiteX953" fmla="*/ 594728 w 5593163"/>
              <a:gd name="connsiteY953" fmla="*/ 1350487 h 4305008"/>
              <a:gd name="connsiteX954" fmla="*/ 595226 w 5593163"/>
              <a:gd name="connsiteY954" fmla="*/ 1350455 h 4305008"/>
              <a:gd name="connsiteX955" fmla="*/ 595820 w 5593163"/>
              <a:gd name="connsiteY955" fmla="*/ 1361805 h 4305008"/>
              <a:gd name="connsiteX956" fmla="*/ 594449 w 5593163"/>
              <a:gd name="connsiteY956" fmla="*/ 1378647 h 4305008"/>
              <a:gd name="connsiteX957" fmla="*/ 586982 w 5593163"/>
              <a:gd name="connsiteY957" fmla="*/ 1470397 h 4305008"/>
              <a:gd name="connsiteX958" fmla="*/ 586444 w 5593163"/>
              <a:gd name="connsiteY958" fmla="*/ 1477021 h 4305008"/>
              <a:gd name="connsiteX959" fmla="*/ 585938 w 5593163"/>
              <a:gd name="connsiteY959" fmla="*/ 1477083 h 4305008"/>
              <a:gd name="connsiteX960" fmla="*/ 26396 w 5593163"/>
              <a:gd name="connsiteY960" fmla="*/ 2132575 h 4305008"/>
              <a:gd name="connsiteX961" fmla="*/ 0 w 5593163"/>
              <a:gd name="connsiteY961" fmla="*/ 2766967 h 4305008"/>
              <a:gd name="connsiteX962" fmla="*/ 0 w 5593163"/>
              <a:gd name="connsiteY962" fmla="*/ 2558889 h 4305008"/>
              <a:gd name="connsiteX963" fmla="*/ 31905 w 5593163"/>
              <a:gd name="connsiteY963" fmla="*/ 2608877 h 4305008"/>
              <a:gd name="connsiteX964" fmla="*/ 452455 w 5593163"/>
              <a:gd name="connsiteY964" fmla="*/ 2877874 h 4305008"/>
              <a:gd name="connsiteX965" fmla="*/ 9316 w 5593163"/>
              <a:gd name="connsiteY965" fmla="*/ 2362309 h 4305008"/>
              <a:gd name="connsiteX966" fmla="*/ 0 w 5593163"/>
              <a:gd name="connsiteY966" fmla="*/ 2359585 h 4305008"/>
              <a:gd name="connsiteX967" fmla="*/ 0 w 5593163"/>
              <a:gd name="connsiteY967" fmla="*/ 2227392 h 4305008"/>
              <a:gd name="connsiteX968" fmla="*/ 26399 w 5593163"/>
              <a:gd name="connsiteY968" fmla="*/ 2233932 h 4305008"/>
              <a:gd name="connsiteX969" fmla="*/ 585941 w 5593163"/>
              <a:gd name="connsiteY969" fmla="*/ 2894613 h 4305008"/>
              <a:gd name="connsiteX970" fmla="*/ 586447 w 5593163"/>
              <a:gd name="connsiteY970" fmla="*/ 2894676 h 4305008"/>
              <a:gd name="connsiteX971" fmla="*/ 586987 w 5593163"/>
              <a:gd name="connsiteY971" fmla="*/ 2901366 h 4305008"/>
              <a:gd name="connsiteX972" fmla="*/ 594451 w 5593163"/>
              <a:gd name="connsiteY972" fmla="*/ 2993823 h 4305008"/>
              <a:gd name="connsiteX973" fmla="*/ 595822 w 5593163"/>
              <a:gd name="connsiteY973" fmla="*/ 3010804 h 4305008"/>
              <a:gd name="connsiteX974" fmla="*/ 595229 w 5593163"/>
              <a:gd name="connsiteY974" fmla="*/ 3022244 h 4305008"/>
              <a:gd name="connsiteX975" fmla="*/ 594730 w 5593163"/>
              <a:gd name="connsiteY975" fmla="*/ 3022211 h 4305008"/>
              <a:gd name="connsiteX976" fmla="*/ 594704 w 5593163"/>
              <a:gd name="connsiteY976" fmla="*/ 3022706 h 4305008"/>
              <a:gd name="connsiteX977" fmla="*/ 577585 w 5593163"/>
              <a:gd name="connsiteY977" fmla="*/ 3021080 h 4305008"/>
              <a:gd name="connsiteX978" fmla="*/ 482159 w 5593163"/>
              <a:gd name="connsiteY978" fmla="*/ 3012018 h 4305008"/>
              <a:gd name="connsiteX979" fmla="*/ 465942 w 5593163"/>
              <a:gd name="connsiteY979" fmla="*/ 3010478 h 4305008"/>
              <a:gd name="connsiteX980" fmla="*/ 465826 w 5593163"/>
              <a:gd name="connsiteY980" fmla="*/ 3009330 h 4305008"/>
              <a:gd name="connsiteX981" fmla="*/ 5028 w 5593163"/>
              <a:gd name="connsiteY981" fmla="*/ 2772859 h 4305008"/>
              <a:gd name="connsiteX982" fmla="*/ 0 w 5593163"/>
              <a:gd name="connsiteY982" fmla="*/ 3835888 h 4305008"/>
              <a:gd name="connsiteX983" fmla="*/ 0 w 5593163"/>
              <a:gd name="connsiteY983" fmla="*/ 3704734 h 4305008"/>
              <a:gd name="connsiteX984" fmla="*/ 9314 w 5593163"/>
              <a:gd name="connsiteY984" fmla="*/ 3702032 h 4305008"/>
              <a:gd name="connsiteX985" fmla="*/ 452453 w 5593163"/>
              <a:gd name="connsiteY985" fmla="*/ 3190516 h 4305008"/>
              <a:gd name="connsiteX986" fmla="*/ 31903 w 5593163"/>
              <a:gd name="connsiteY986" fmla="*/ 3457400 h 4305008"/>
              <a:gd name="connsiteX987" fmla="*/ 0 w 5593163"/>
              <a:gd name="connsiteY987" fmla="*/ 3506992 h 4305008"/>
              <a:gd name="connsiteX988" fmla="*/ 0 w 5593163"/>
              <a:gd name="connsiteY988" fmla="*/ 3300549 h 4305008"/>
              <a:gd name="connsiteX989" fmla="*/ 5025 w 5593163"/>
              <a:gd name="connsiteY989" fmla="*/ 3294705 h 4305008"/>
              <a:gd name="connsiteX990" fmla="*/ 465823 w 5593163"/>
              <a:gd name="connsiteY990" fmla="*/ 3060092 h 4305008"/>
              <a:gd name="connsiteX991" fmla="*/ 465940 w 5593163"/>
              <a:gd name="connsiteY991" fmla="*/ 3058953 h 4305008"/>
              <a:gd name="connsiteX992" fmla="*/ 482153 w 5593163"/>
              <a:gd name="connsiteY992" fmla="*/ 3057426 h 4305008"/>
              <a:gd name="connsiteX993" fmla="*/ 577614 w 5593163"/>
              <a:gd name="connsiteY993" fmla="*/ 3048432 h 4305008"/>
              <a:gd name="connsiteX994" fmla="*/ 594702 w 5593163"/>
              <a:gd name="connsiteY994" fmla="*/ 3046822 h 4305008"/>
              <a:gd name="connsiteX995" fmla="*/ 594728 w 5593163"/>
              <a:gd name="connsiteY995" fmla="*/ 3047312 h 4305008"/>
              <a:gd name="connsiteX996" fmla="*/ 595226 w 5593163"/>
              <a:gd name="connsiteY996" fmla="*/ 3047280 h 4305008"/>
              <a:gd name="connsiteX997" fmla="*/ 595820 w 5593163"/>
              <a:gd name="connsiteY997" fmla="*/ 3058630 h 4305008"/>
              <a:gd name="connsiteX998" fmla="*/ 594449 w 5593163"/>
              <a:gd name="connsiteY998" fmla="*/ 3075472 h 4305008"/>
              <a:gd name="connsiteX999" fmla="*/ 586982 w 5593163"/>
              <a:gd name="connsiteY999" fmla="*/ 3167222 h 4305008"/>
              <a:gd name="connsiteX1000" fmla="*/ 586444 w 5593163"/>
              <a:gd name="connsiteY1000" fmla="*/ 3173846 h 4305008"/>
              <a:gd name="connsiteX1001" fmla="*/ 585938 w 5593163"/>
              <a:gd name="connsiteY1001" fmla="*/ 3173908 h 4305008"/>
              <a:gd name="connsiteX1002" fmla="*/ 26396 w 5593163"/>
              <a:gd name="connsiteY1002" fmla="*/ 3829400 h 4305008"/>
              <a:gd name="connsiteX1003" fmla="*/ 0 w 5593163"/>
              <a:gd name="connsiteY1003" fmla="*/ 4056079 h 4305008"/>
              <a:gd name="connsiteX1004" fmla="*/ 0 w 5593163"/>
              <a:gd name="connsiteY1004" fmla="*/ 3923091 h 4305008"/>
              <a:gd name="connsiteX1005" fmla="*/ 9850 w 5593163"/>
              <a:gd name="connsiteY1005" fmla="*/ 3925425 h 4305008"/>
              <a:gd name="connsiteX1006" fmla="*/ 456028 w 5593163"/>
              <a:gd name="connsiteY1006" fmla="*/ 4255797 h 4305008"/>
              <a:gd name="connsiteX1007" fmla="*/ 484473 w 5593163"/>
              <a:gd name="connsiteY1007" fmla="*/ 4305008 h 4305008"/>
              <a:gd name="connsiteX1008" fmla="*/ 333423 w 5593163"/>
              <a:gd name="connsiteY1008" fmla="*/ 4305008 h 4305008"/>
              <a:gd name="connsiteX1009" fmla="*/ 281300 w 5593163"/>
              <a:gd name="connsiteY1009" fmla="*/ 4241205 h 4305008"/>
              <a:gd name="connsiteX1010" fmla="*/ 75476 w 5593163"/>
              <a:gd name="connsiteY1010" fmla="*/ 4087725 h 4305008"/>
              <a:gd name="connsiteX1011" fmla="*/ 0 w 5593163"/>
              <a:gd name="connsiteY1011" fmla="*/ 4305008 h 4305008"/>
              <a:gd name="connsiteX1012" fmla="*/ 0 w 5593163"/>
              <a:gd name="connsiteY1012" fmla="*/ 4256099 h 4305008"/>
              <a:gd name="connsiteX1013" fmla="*/ 8327 w 5593163"/>
              <a:gd name="connsiteY1013" fmla="*/ 4271827 h 4305008"/>
              <a:gd name="connsiteX1014" fmla="*/ 35009 w 5593163"/>
              <a:gd name="connsiteY1014" fmla="*/ 4305008 h 430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Lst>
            <a:rect l="l" t="t" r="r" b="b"/>
            <a:pathLst>
              <a:path w="5593163" h="4305008">
                <a:moveTo>
                  <a:pt x="4985599" y="636203"/>
                </a:moveTo>
                <a:cubicBezTo>
                  <a:pt x="5038875" y="907109"/>
                  <a:pt x="5253718" y="1121906"/>
                  <a:pt x="5528908" y="1181049"/>
                </a:cubicBezTo>
                <a:cubicBezTo>
                  <a:pt x="5475633" y="910143"/>
                  <a:pt x="5260789" y="695346"/>
                  <a:pt x="4985599" y="636203"/>
                </a:cubicBezTo>
                <a:close/>
                <a:moveTo>
                  <a:pt x="4985599" y="2333028"/>
                </a:moveTo>
                <a:cubicBezTo>
                  <a:pt x="5038875" y="2603934"/>
                  <a:pt x="5253718" y="2818731"/>
                  <a:pt x="5528908" y="2877874"/>
                </a:cubicBezTo>
                <a:cubicBezTo>
                  <a:pt x="5475633" y="2606968"/>
                  <a:pt x="5260789" y="2392171"/>
                  <a:pt x="4985599" y="2333028"/>
                </a:cubicBezTo>
                <a:close/>
                <a:moveTo>
                  <a:pt x="4985597" y="2034258"/>
                </a:moveTo>
                <a:cubicBezTo>
                  <a:pt x="5260787" y="1975579"/>
                  <a:pt x="5475630" y="1762469"/>
                  <a:pt x="5528906" y="1493690"/>
                </a:cubicBezTo>
                <a:cubicBezTo>
                  <a:pt x="5253716" y="1552369"/>
                  <a:pt x="5038872" y="1765479"/>
                  <a:pt x="4985597" y="2034258"/>
                </a:cubicBezTo>
                <a:close/>
                <a:moveTo>
                  <a:pt x="4985597" y="3731083"/>
                </a:moveTo>
                <a:cubicBezTo>
                  <a:pt x="5260787" y="3672404"/>
                  <a:pt x="5475630" y="3459294"/>
                  <a:pt x="5528906" y="3190516"/>
                </a:cubicBezTo>
                <a:cubicBezTo>
                  <a:pt x="5253716" y="3249194"/>
                  <a:pt x="5038872" y="3462304"/>
                  <a:pt x="4985597" y="3731083"/>
                </a:cubicBezTo>
                <a:close/>
                <a:moveTo>
                  <a:pt x="4842232" y="503273"/>
                </a:moveTo>
                <a:lnTo>
                  <a:pt x="4842826" y="491833"/>
                </a:lnTo>
                <a:lnTo>
                  <a:pt x="4843324" y="491866"/>
                </a:lnTo>
                <a:lnTo>
                  <a:pt x="4843350" y="491372"/>
                </a:lnTo>
                <a:lnTo>
                  <a:pt x="4860437" y="492995"/>
                </a:lnTo>
                <a:cubicBezTo>
                  <a:pt x="4892823" y="493522"/>
                  <a:pt x="4924716" y="496503"/>
                  <a:pt x="4955899" y="502060"/>
                </a:cubicBezTo>
                <a:cubicBezTo>
                  <a:pt x="4961475" y="501641"/>
                  <a:pt x="4966803" y="502589"/>
                  <a:pt x="4972112" y="503599"/>
                </a:cubicBezTo>
                <a:lnTo>
                  <a:pt x="4972229" y="504747"/>
                </a:lnTo>
                <a:cubicBezTo>
                  <a:pt x="5241367" y="549296"/>
                  <a:pt x="5466735" y="718370"/>
                  <a:pt x="5583809" y="948988"/>
                </a:cubicBezTo>
                <a:lnTo>
                  <a:pt x="5593163" y="971822"/>
                </a:lnTo>
                <a:lnTo>
                  <a:pt x="5593163" y="1318474"/>
                </a:lnTo>
                <a:lnTo>
                  <a:pt x="5558612" y="1315193"/>
                </a:lnTo>
                <a:cubicBezTo>
                  <a:pt x="5553035" y="1315612"/>
                  <a:pt x="5547706" y="1314664"/>
                  <a:pt x="5542395" y="1313653"/>
                </a:cubicBezTo>
                <a:lnTo>
                  <a:pt x="5542279" y="1312505"/>
                </a:lnTo>
                <a:cubicBezTo>
                  <a:pt x="5183428" y="1253106"/>
                  <a:pt x="4902389" y="972329"/>
                  <a:pt x="4852114" y="619464"/>
                </a:cubicBezTo>
                <a:cubicBezTo>
                  <a:pt x="4851946" y="619411"/>
                  <a:pt x="4851778" y="619406"/>
                  <a:pt x="4851608" y="619401"/>
                </a:cubicBezTo>
                <a:lnTo>
                  <a:pt x="4851070" y="612725"/>
                </a:lnTo>
                <a:cubicBezTo>
                  <a:pt x="4846011" y="582475"/>
                  <a:pt x="4843560" y="551584"/>
                  <a:pt x="4843603" y="520249"/>
                </a:cubicBezTo>
                <a:cubicBezTo>
                  <a:pt x="4842291" y="514621"/>
                  <a:pt x="4842232" y="508954"/>
                  <a:pt x="4842232" y="503273"/>
                </a:cubicBezTo>
                <a:close/>
                <a:moveTo>
                  <a:pt x="4842232" y="2200098"/>
                </a:moveTo>
                <a:lnTo>
                  <a:pt x="4842826" y="2188658"/>
                </a:lnTo>
                <a:lnTo>
                  <a:pt x="4843324" y="2188691"/>
                </a:lnTo>
                <a:lnTo>
                  <a:pt x="4843350" y="2188197"/>
                </a:lnTo>
                <a:lnTo>
                  <a:pt x="4860437" y="2189820"/>
                </a:lnTo>
                <a:cubicBezTo>
                  <a:pt x="4892823" y="2190347"/>
                  <a:pt x="4924716" y="2193328"/>
                  <a:pt x="4955899" y="2198885"/>
                </a:cubicBezTo>
                <a:cubicBezTo>
                  <a:pt x="4961475" y="2198466"/>
                  <a:pt x="4966803" y="2199414"/>
                  <a:pt x="4972112" y="2200424"/>
                </a:cubicBezTo>
                <a:lnTo>
                  <a:pt x="4972229" y="2201572"/>
                </a:lnTo>
                <a:cubicBezTo>
                  <a:pt x="5241367" y="2246121"/>
                  <a:pt x="5466735" y="2415195"/>
                  <a:pt x="5583809" y="2645813"/>
                </a:cubicBezTo>
                <a:lnTo>
                  <a:pt x="5593163" y="2668647"/>
                </a:lnTo>
                <a:lnTo>
                  <a:pt x="5593163" y="3015299"/>
                </a:lnTo>
                <a:lnTo>
                  <a:pt x="5558612" y="3012018"/>
                </a:lnTo>
                <a:cubicBezTo>
                  <a:pt x="5553035" y="3012437"/>
                  <a:pt x="5547706" y="3011489"/>
                  <a:pt x="5542395" y="3010478"/>
                </a:cubicBezTo>
                <a:lnTo>
                  <a:pt x="5542279" y="3009330"/>
                </a:lnTo>
                <a:cubicBezTo>
                  <a:pt x="5183428" y="2949931"/>
                  <a:pt x="4902389" y="2669154"/>
                  <a:pt x="4852114" y="2316289"/>
                </a:cubicBezTo>
                <a:cubicBezTo>
                  <a:pt x="4851946" y="2316236"/>
                  <a:pt x="4851778" y="2316231"/>
                  <a:pt x="4851608" y="2316226"/>
                </a:cubicBezTo>
                <a:lnTo>
                  <a:pt x="4851070" y="2309550"/>
                </a:lnTo>
                <a:cubicBezTo>
                  <a:pt x="4846011" y="2279300"/>
                  <a:pt x="4843560" y="2248409"/>
                  <a:pt x="4843603" y="2217074"/>
                </a:cubicBezTo>
                <a:cubicBezTo>
                  <a:pt x="4842291" y="2211446"/>
                  <a:pt x="4842232" y="2205779"/>
                  <a:pt x="4842232" y="2200098"/>
                </a:cubicBezTo>
                <a:close/>
                <a:moveTo>
                  <a:pt x="4842232" y="3896923"/>
                </a:moveTo>
                <a:lnTo>
                  <a:pt x="4842826" y="3885483"/>
                </a:lnTo>
                <a:lnTo>
                  <a:pt x="4843324" y="3885516"/>
                </a:lnTo>
                <a:lnTo>
                  <a:pt x="4843350" y="3885022"/>
                </a:lnTo>
                <a:lnTo>
                  <a:pt x="4860437" y="3886645"/>
                </a:lnTo>
                <a:cubicBezTo>
                  <a:pt x="4892823" y="3887172"/>
                  <a:pt x="4924716" y="3890153"/>
                  <a:pt x="4955899" y="3895710"/>
                </a:cubicBezTo>
                <a:cubicBezTo>
                  <a:pt x="4961475" y="3895291"/>
                  <a:pt x="4966803" y="3896239"/>
                  <a:pt x="4972112" y="3897249"/>
                </a:cubicBezTo>
                <a:lnTo>
                  <a:pt x="4972229" y="3898397"/>
                </a:lnTo>
                <a:cubicBezTo>
                  <a:pt x="5206288" y="3937139"/>
                  <a:pt x="5407245" y="4070062"/>
                  <a:pt x="5532481" y="4255797"/>
                </a:cubicBezTo>
                <a:lnTo>
                  <a:pt x="5560926" y="4305008"/>
                </a:lnTo>
                <a:lnTo>
                  <a:pt x="5409877" y="4305008"/>
                </a:lnTo>
                <a:lnTo>
                  <a:pt x="5357754" y="4241205"/>
                </a:lnTo>
                <a:cubicBezTo>
                  <a:pt x="5261058" y="4136681"/>
                  <a:pt x="5131850" y="4061285"/>
                  <a:pt x="4985599" y="4029853"/>
                </a:cubicBezTo>
                <a:cubicBezTo>
                  <a:pt x="5002846" y="4117553"/>
                  <a:pt x="5037026" y="4199373"/>
                  <a:pt x="5084780" y="4271827"/>
                </a:cubicBezTo>
                <a:lnTo>
                  <a:pt x="5111462" y="4305008"/>
                </a:lnTo>
                <a:lnTo>
                  <a:pt x="4957353" y="4305008"/>
                </a:lnTo>
                <a:lnTo>
                  <a:pt x="4927231" y="4254710"/>
                </a:lnTo>
                <a:cubicBezTo>
                  <a:pt x="4890029" y="4179889"/>
                  <a:pt x="4864297" y="4098618"/>
                  <a:pt x="4852114" y="4013114"/>
                </a:cubicBezTo>
                <a:cubicBezTo>
                  <a:pt x="4851946" y="4013061"/>
                  <a:pt x="4851778" y="4013056"/>
                  <a:pt x="4851608" y="4013051"/>
                </a:cubicBezTo>
                <a:lnTo>
                  <a:pt x="4851070" y="4006375"/>
                </a:lnTo>
                <a:cubicBezTo>
                  <a:pt x="4846011" y="3976125"/>
                  <a:pt x="4843560" y="3945234"/>
                  <a:pt x="4843603" y="3913899"/>
                </a:cubicBezTo>
                <a:cubicBezTo>
                  <a:pt x="4842291" y="3908271"/>
                  <a:pt x="4842232" y="3902604"/>
                  <a:pt x="4842232" y="3896923"/>
                </a:cubicBezTo>
                <a:close/>
                <a:moveTo>
                  <a:pt x="4842230" y="469318"/>
                </a:moveTo>
                <a:cubicBezTo>
                  <a:pt x="4842230" y="463681"/>
                  <a:pt x="4842289" y="458057"/>
                  <a:pt x="4843601" y="452471"/>
                </a:cubicBezTo>
                <a:cubicBezTo>
                  <a:pt x="4843558" y="421389"/>
                  <a:pt x="4846008" y="390746"/>
                  <a:pt x="4851065" y="360740"/>
                </a:cubicBezTo>
                <a:lnTo>
                  <a:pt x="4851605" y="354103"/>
                </a:lnTo>
                <a:cubicBezTo>
                  <a:pt x="4851774" y="354098"/>
                  <a:pt x="4851943" y="354093"/>
                  <a:pt x="4852110" y="354040"/>
                </a:cubicBezTo>
                <a:cubicBezTo>
                  <a:pt x="4865262" y="262463"/>
                  <a:pt x="4894203" y="175780"/>
                  <a:pt x="4936323" y="96778"/>
                </a:cubicBezTo>
                <a:lnTo>
                  <a:pt x="4998957" y="0"/>
                </a:lnTo>
                <a:lnTo>
                  <a:pt x="5167333" y="0"/>
                </a:lnTo>
                <a:lnTo>
                  <a:pt x="5099105" y="76659"/>
                </a:lnTo>
                <a:cubicBezTo>
                  <a:pt x="5043838" y="153496"/>
                  <a:pt x="5004523" y="241952"/>
                  <a:pt x="4985597" y="337433"/>
                </a:cubicBezTo>
                <a:cubicBezTo>
                  <a:pt x="5168636" y="298404"/>
                  <a:pt x="5324978" y="191052"/>
                  <a:pt x="5424571" y="44350"/>
                </a:cubicBezTo>
                <a:lnTo>
                  <a:pt x="5446799" y="0"/>
                </a:lnTo>
                <a:lnTo>
                  <a:pt x="5593163" y="0"/>
                </a:lnTo>
                <a:lnTo>
                  <a:pt x="5593163" y="4197"/>
                </a:lnTo>
                <a:lnTo>
                  <a:pt x="5543598" y="95636"/>
                </a:lnTo>
                <a:cubicBezTo>
                  <a:pt x="5419825" y="289169"/>
                  <a:pt x="5213633" y="428211"/>
                  <a:pt x="4972226" y="467856"/>
                </a:cubicBezTo>
                <a:lnTo>
                  <a:pt x="4972110" y="468995"/>
                </a:lnTo>
                <a:cubicBezTo>
                  <a:pt x="4966799" y="469998"/>
                  <a:pt x="4961470" y="470939"/>
                  <a:pt x="4955893" y="470523"/>
                </a:cubicBezTo>
                <a:cubicBezTo>
                  <a:pt x="4924721" y="476033"/>
                  <a:pt x="4892841" y="478991"/>
                  <a:pt x="4860466" y="479514"/>
                </a:cubicBezTo>
                <a:lnTo>
                  <a:pt x="4843348" y="481127"/>
                </a:lnTo>
                <a:lnTo>
                  <a:pt x="4843322" y="480636"/>
                </a:lnTo>
                <a:lnTo>
                  <a:pt x="4842823" y="480669"/>
                </a:lnTo>
                <a:cubicBezTo>
                  <a:pt x="4842257" y="476896"/>
                  <a:pt x="4842230" y="473110"/>
                  <a:pt x="4842230" y="469318"/>
                </a:cubicBezTo>
                <a:close/>
                <a:moveTo>
                  <a:pt x="4842230" y="2166144"/>
                </a:moveTo>
                <a:cubicBezTo>
                  <a:pt x="4842230" y="2160506"/>
                  <a:pt x="4842289" y="2154882"/>
                  <a:pt x="4843601" y="2149296"/>
                </a:cubicBezTo>
                <a:cubicBezTo>
                  <a:pt x="4843558" y="2118214"/>
                  <a:pt x="4846008" y="2087572"/>
                  <a:pt x="4851065" y="2057565"/>
                </a:cubicBezTo>
                <a:lnTo>
                  <a:pt x="4851605" y="2050928"/>
                </a:lnTo>
                <a:cubicBezTo>
                  <a:pt x="4851774" y="2050923"/>
                  <a:pt x="4851943" y="2050918"/>
                  <a:pt x="4852110" y="2050865"/>
                </a:cubicBezTo>
                <a:cubicBezTo>
                  <a:pt x="4902387" y="1700770"/>
                  <a:pt x="5183426" y="1422199"/>
                  <a:pt x="5542276" y="1363267"/>
                </a:cubicBezTo>
                <a:lnTo>
                  <a:pt x="5542393" y="1362128"/>
                </a:lnTo>
                <a:cubicBezTo>
                  <a:pt x="5547702" y="1361126"/>
                  <a:pt x="5553030" y="1360185"/>
                  <a:pt x="5558606" y="1360601"/>
                </a:cubicBezTo>
                <a:lnTo>
                  <a:pt x="5593163" y="1357345"/>
                </a:lnTo>
                <a:lnTo>
                  <a:pt x="5593163" y="1701268"/>
                </a:lnTo>
                <a:lnTo>
                  <a:pt x="5583807" y="1723929"/>
                </a:lnTo>
                <a:cubicBezTo>
                  <a:pt x="5466733" y="1952736"/>
                  <a:pt x="5241364" y="2120482"/>
                  <a:pt x="4972226" y="2164681"/>
                </a:cubicBezTo>
                <a:lnTo>
                  <a:pt x="4972110" y="2165820"/>
                </a:lnTo>
                <a:cubicBezTo>
                  <a:pt x="4966799" y="2166823"/>
                  <a:pt x="4961470" y="2167764"/>
                  <a:pt x="4955893" y="2167348"/>
                </a:cubicBezTo>
                <a:cubicBezTo>
                  <a:pt x="4924721" y="2172858"/>
                  <a:pt x="4892841" y="2175816"/>
                  <a:pt x="4860466" y="2176339"/>
                </a:cubicBezTo>
                <a:lnTo>
                  <a:pt x="4843348" y="2177952"/>
                </a:lnTo>
                <a:lnTo>
                  <a:pt x="4843322" y="2177461"/>
                </a:lnTo>
                <a:lnTo>
                  <a:pt x="4842823" y="2177494"/>
                </a:lnTo>
                <a:cubicBezTo>
                  <a:pt x="4842257" y="2173722"/>
                  <a:pt x="4842230" y="2169936"/>
                  <a:pt x="4842230" y="2166144"/>
                </a:cubicBezTo>
                <a:close/>
                <a:moveTo>
                  <a:pt x="4842230" y="3862969"/>
                </a:moveTo>
                <a:cubicBezTo>
                  <a:pt x="4842230" y="3857331"/>
                  <a:pt x="4842289" y="3851707"/>
                  <a:pt x="4843601" y="3846121"/>
                </a:cubicBezTo>
                <a:cubicBezTo>
                  <a:pt x="4843558" y="3815039"/>
                  <a:pt x="4846008" y="3784397"/>
                  <a:pt x="4851065" y="3754390"/>
                </a:cubicBezTo>
                <a:lnTo>
                  <a:pt x="4851605" y="3747753"/>
                </a:lnTo>
                <a:cubicBezTo>
                  <a:pt x="4851774" y="3747748"/>
                  <a:pt x="4851943" y="3747743"/>
                  <a:pt x="4852110" y="3747690"/>
                </a:cubicBezTo>
                <a:cubicBezTo>
                  <a:pt x="4902387" y="3397595"/>
                  <a:pt x="5183426" y="3119024"/>
                  <a:pt x="5542276" y="3060092"/>
                </a:cubicBezTo>
                <a:lnTo>
                  <a:pt x="5542393" y="3058953"/>
                </a:lnTo>
                <a:cubicBezTo>
                  <a:pt x="5547702" y="3057951"/>
                  <a:pt x="5553030" y="3057010"/>
                  <a:pt x="5558606" y="3057426"/>
                </a:cubicBezTo>
                <a:lnTo>
                  <a:pt x="5593163" y="3054170"/>
                </a:lnTo>
                <a:lnTo>
                  <a:pt x="5593163" y="3398093"/>
                </a:lnTo>
                <a:lnTo>
                  <a:pt x="5583807" y="3420754"/>
                </a:lnTo>
                <a:cubicBezTo>
                  <a:pt x="5466733" y="3649560"/>
                  <a:pt x="5241364" y="3817307"/>
                  <a:pt x="4972226" y="3861506"/>
                </a:cubicBezTo>
                <a:lnTo>
                  <a:pt x="4972110" y="3862645"/>
                </a:lnTo>
                <a:cubicBezTo>
                  <a:pt x="4966799" y="3863648"/>
                  <a:pt x="4961470" y="3864589"/>
                  <a:pt x="4955893" y="3864173"/>
                </a:cubicBezTo>
                <a:cubicBezTo>
                  <a:pt x="4924721" y="3869683"/>
                  <a:pt x="4892841" y="3872641"/>
                  <a:pt x="4860466" y="3873164"/>
                </a:cubicBezTo>
                <a:lnTo>
                  <a:pt x="4843348" y="3874777"/>
                </a:lnTo>
                <a:lnTo>
                  <a:pt x="4843322" y="3874286"/>
                </a:lnTo>
                <a:lnTo>
                  <a:pt x="4842823" y="3874319"/>
                </a:lnTo>
                <a:cubicBezTo>
                  <a:pt x="4842257" y="3870547"/>
                  <a:pt x="4842230" y="3866761"/>
                  <a:pt x="4842230" y="3862969"/>
                </a:cubicBezTo>
                <a:close/>
                <a:moveTo>
                  <a:pt x="4135041" y="1181049"/>
                </a:moveTo>
                <a:cubicBezTo>
                  <a:pt x="4410231" y="1121906"/>
                  <a:pt x="4625074" y="907109"/>
                  <a:pt x="4678350" y="636203"/>
                </a:cubicBezTo>
                <a:cubicBezTo>
                  <a:pt x="4403160" y="695346"/>
                  <a:pt x="4188316" y="910143"/>
                  <a:pt x="4135041" y="1181049"/>
                </a:cubicBezTo>
                <a:close/>
                <a:moveTo>
                  <a:pt x="4135041" y="1493690"/>
                </a:moveTo>
                <a:cubicBezTo>
                  <a:pt x="4188317" y="1762469"/>
                  <a:pt x="4403160" y="1975579"/>
                  <a:pt x="4678350" y="2034258"/>
                </a:cubicBezTo>
                <a:cubicBezTo>
                  <a:pt x="4625075" y="1765479"/>
                  <a:pt x="4410231" y="1552369"/>
                  <a:pt x="4135041" y="1493690"/>
                </a:cubicBezTo>
                <a:close/>
                <a:moveTo>
                  <a:pt x="4135041" y="2877874"/>
                </a:moveTo>
                <a:cubicBezTo>
                  <a:pt x="4410231" y="2818731"/>
                  <a:pt x="4625074" y="2603934"/>
                  <a:pt x="4678350" y="2333028"/>
                </a:cubicBezTo>
                <a:cubicBezTo>
                  <a:pt x="4403160" y="2392171"/>
                  <a:pt x="4188316" y="2606968"/>
                  <a:pt x="4135041" y="2877874"/>
                </a:cubicBezTo>
                <a:close/>
                <a:moveTo>
                  <a:pt x="4135041" y="3190516"/>
                </a:moveTo>
                <a:cubicBezTo>
                  <a:pt x="4188317" y="3459294"/>
                  <a:pt x="4403160" y="3672404"/>
                  <a:pt x="4678350" y="3731083"/>
                </a:cubicBezTo>
                <a:cubicBezTo>
                  <a:pt x="4625075" y="3462304"/>
                  <a:pt x="4410231" y="3249194"/>
                  <a:pt x="4135041" y="3190516"/>
                </a:cubicBezTo>
                <a:close/>
                <a:moveTo>
                  <a:pt x="4103022" y="4305008"/>
                </a:moveTo>
                <a:lnTo>
                  <a:pt x="4131467" y="4255797"/>
                </a:lnTo>
                <a:cubicBezTo>
                  <a:pt x="4256704" y="4070062"/>
                  <a:pt x="4457661" y="3937139"/>
                  <a:pt x="4691720" y="3898397"/>
                </a:cubicBezTo>
                <a:lnTo>
                  <a:pt x="4691837" y="3897249"/>
                </a:lnTo>
                <a:cubicBezTo>
                  <a:pt x="4697146" y="3896239"/>
                  <a:pt x="4702474" y="3895291"/>
                  <a:pt x="4708050" y="3895710"/>
                </a:cubicBezTo>
                <a:cubicBezTo>
                  <a:pt x="4739233" y="3890153"/>
                  <a:pt x="4771126" y="3887172"/>
                  <a:pt x="4803512" y="3886645"/>
                </a:cubicBezTo>
                <a:lnTo>
                  <a:pt x="4820599" y="3885022"/>
                </a:lnTo>
                <a:lnTo>
                  <a:pt x="4820625" y="3885516"/>
                </a:lnTo>
                <a:lnTo>
                  <a:pt x="4821123" y="3885483"/>
                </a:lnTo>
                <a:lnTo>
                  <a:pt x="4821717" y="3896923"/>
                </a:lnTo>
                <a:cubicBezTo>
                  <a:pt x="4821717" y="3902604"/>
                  <a:pt x="4821658" y="3908271"/>
                  <a:pt x="4820346" y="3913899"/>
                </a:cubicBezTo>
                <a:cubicBezTo>
                  <a:pt x="4820389" y="3945234"/>
                  <a:pt x="4817938" y="3976125"/>
                  <a:pt x="4812879" y="4006375"/>
                </a:cubicBezTo>
                <a:lnTo>
                  <a:pt x="4812341" y="4013051"/>
                </a:lnTo>
                <a:cubicBezTo>
                  <a:pt x="4812171" y="4013056"/>
                  <a:pt x="4812003" y="4013061"/>
                  <a:pt x="4811835" y="4013114"/>
                </a:cubicBezTo>
                <a:cubicBezTo>
                  <a:pt x="4799653" y="4098618"/>
                  <a:pt x="4773921" y="4179889"/>
                  <a:pt x="4736718" y="4254710"/>
                </a:cubicBezTo>
                <a:lnTo>
                  <a:pt x="4706597" y="4305008"/>
                </a:lnTo>
                <a:lnTo>
                  <a:pt x="4552487" y="4305008"/>
                </a:lnTo>
                <a:lnTo>
                  <a:pt x="4579169" y="4271827"/>
                </a:lnTo>
                <a:cubicBezTo>
                  <a:pt x="4626924" y="4199373"/>
                  <a:pt x="4661103" y="4117553"/>
                  <a:pt x="4678350" y="4029853"/>
                </a:cubicBezTo>
                <a:cubicBezTo>
                  <a:pt x="4532099" y="4061285"/>
                  <a:pt x="4402892" y="4136681"/>
                  <a:pt x="4306196" y="4241205"/>
                </a:cubicBezTo>
                <a:lnTo>
                  <a:pt x="4254073" y="4305008"/>
                </a:lnTo>
                <a:close/>
                <a:moveTo>
                  <a:pt x="4068511" y="0"/>
                </a:moveTo>
                <a:lnTo>
                  <a:pt x="4217148" y="0"/>
                </a:lnTo>
                <a:lnTo>
                  <a:pt x="4239376" y="44350"/>
                </a:lnTo>
                <a:cubicBezTo>
                  <a:pt x="4338970" y="191052"/>
                  <a:pt x="4495311" y="298404"/>
                  <a:pt x="4678350" y="337433"/>
                </a:cubicBezTo>
                <a:cubicBezTo>
                  <a:pt x="4659425" y="241952"/>
                  <a:pt x="4620110" y="153496"/>
                  <a:pt x="4564842" y="76659"/>
                </a:cubicBezTo>
                <a:lnTo>
                  <a:pt x="4496615" y="0"/>
                </a:lnTo>
                <a:lnTo>
                  <a:pt x="4664989" y="0"/>
                </a:lnTo>
                <a:lnTo>
                  <a:pt x="4727623" y="96778"/>
                </a:lnTo>
                <a:cubicBezTo>
                  <a:pt x="4769744" y="175780"/>
                  <a:pt x="4798685" y="262463"/>
                  <a:pt x="4811836" y="354040"/>
                </a:cubicBezTo>
                <a:cubicBezTo>
                  <a:pt x="4812004" y="354093"/>
                  <a:pt x="4812173" y="354098"/>
                  <a:pt x="4812342" y="354103"/>
                </a:cubicBezTo>
                <a:lnTo>
                  <a:pt x="4812882" y="360740"/>
                </a:lnTo>
                <a:cubicBezTo>
                  <a:pt x="4817939" y="390746"/>
                  <a:pt x="4820389" y="421389"/>
                  <a:pt x="4820346" y="452471"/>
                </a:cubicBezTo>
                <a:cubicBezTo>
                  <a:pt x="4821658" y="458057"/>
                  <a:pt x="4821717" y="463681"/>
                  <a:pt x="4821717" y="469318"/>
                </a:cubicBezTo>
                <a:cubicBezTo>
                  <a:pt x="4821717" y="473110"/>
                  <a:pt x="4821690" y="476896"/>
                  <a:pt x="4821124" y="480669"/>
                </a:cubicBezTo>
                <a:lnTo>
                  <a:pt x="4820625" y="480636"/>
                </a:lnTo>
                <a:lnTo>
                  <a:pt x="4820599" y="481127"/>
                </a:lnTo>
                <a:lnTo>
                  <a:pt x="4803481" y="479514"/>
                </a:lnTo>
                <a:cubicBezTo>
                  <a:pt x="4771106" y="478991"/>
                  <a:pt x="4739226" y="476033"/>
                  <a:pt x="4708054" y="470523"/>
                </a:cubicBezTo>
                <a:cubicBezTo>
                  <a:pt x="4702477" y="470939"/>
                  <a:pt x="4697148" y="469998"/>
                  <a:pt x="4691837" y="468995"/>
                </a:cubicBezTo>
                <a:lnTo>
                  <a:pt x="4691721" y="467856"/>
                </a:lnTo>
                <a:cubicBezTo>
                  <a:pt x="4450315" y="428211"/>
                  <a:pt x="4244123" y="289169"/>
                  <a:pt x="4120350" y="95636"/>
                </a:cubicBezTo>
                <a:close/>
                <a:moveTo>
                  <a:pt x="3991674" y="1313979"/>
                </a:moveTo>
                <a:cubicBezTo>
                  <a:pt x="3991674" y="1308297"/>
                  <a:pt x="3991733" y="1302628"/>
                  <a:pt x="3993045" y="1296998"/>
                </a:cubicBezTo>
                <a:cubicBezTo>
                  <a:pt x="3993003" y="1265670"/>
                  <a:pt x="3995452" y="1234785"/>
                  <a:pt x="4000509" y="1204541"/>
                </a:cubicBezTo>
                <a:lnTo>
                  <a:pt x="4001049" y="1197851"/>
                </a:lnTo>
                <a:cubicBezTo>
                  <a:pt x="4001218" y="1197846"/>
                  <a:pt x="4001387" y="1197841"/>
                  <a:pt x="4001555" y="1197788"/>
                </a:cubicBezTo>
                <a:cubicBezTo>
                  <a:pt x="4051831" y="844922"/>
                  <a:pt x="4332870" y="564145"/>
                  <a:pt x="4691720" y="504747"/>
                </a:cubicBezTo>
                <a:lnTo>
                  <a:pt x="4691837" y="503599"/>
                </a:lnTo>
                <a:cubicBezTo>
                  <a:pt x="4697146" y="502589"/>
                  <a:pt x="4702474" y="501641"/>
                  <a:pt x="4708050" y="502060"/>
                </a:cubicBezTo>
                <a:cubicBezTo>
                  <a:pt x="4739233" y="496503"/>
                  <a:pt x="4771126" y="493522"/>
                  <a:pt x="4803512" y="492995"/>
                </a:cubicBezTo>
                <a:lnTo>
                  <a:pt x="4820599" y="491372"/>
                </a:lnTo>
                <a:lnTo>
                  <a:pt x="4820625" y="491866"/>
                </a:lnTo>
                <a:lnTo>
                  <a:pt x="4821123" y="491833"/>
                </a:lnTo>
                <a:lnTo>
                  <a:pt x="4821717" y="503273"/>
                </a:lnTo>
                <a:cubicBezTo>
                  <a:pt x="4821717" y="508954"/>
                  <a:pt x="4821658" y="514621"/>
                  <a:pt x="4820346" y="520249"/>
                </a:cubicBezTo>
                <a:cubicBezTo>
                  <a:pt x="4820389" y="551584"/>
                  <a:pt x="4817938" y="582475"/>
                  <a:pt x="4812879" y="612725"/>
                </a:cubicBezTo>
                <a:lnTo>
                  <a:pt x="4812341" y="619401"/>
                </a:lnTo>
                <a:cubicBezTo>
                  <a:pt x="4812171" y="619406"/>
                  <a:pt x="4812003" y="619411"/>
                  <a:pt x="4811835" y="619464"/>
                </a:cubicBezTo>
                <a:cubicBezTo>
                  <a:pt x="4761560" y="972329"/>
                  <a:pt x="4480521" y="1253106"/>
                  <a:pt x="4121670" y="1312505"/>
                </a:cubicBezTo>
                <a:lnTo>
                  <a:pt x="4121554" y="1313653"/>
                </a:lnTo>
                <a:cubicBezTo>
                  <a:pt x="4116243" y="1314664"/>
                  <a:pt x="4110914" y="1315612"/>
                  <a:pt x="4105337" y="1315193"/>
                </a:cubicBezTo>
                <a:cubicBezTo>
                  <a:pt x="4074165" y="1320747"/>
                  <a:pt x="4042285" y="1323728"/>
                  <a:pt x="4009911" y="1324255"/>
                </a:cubicBezTo>
                <a:lnTo>
                  <a:pt x="3992792" y="1325881"/>
                </a:lnTo>
                <a:lnTo>
                  <a:pt x="3992766" y="1325386"/>
                </a:lnTo>
                <a:lnTo>
                  <a:pt x="3992267" y="1325419"/>
                </a:lnTo>
                <a:cubicBezTo>
                  <a:pt x="3991701" y="1321617"/>
                  <a:pt x="3991674" y="1317801"/>
                  <a:pt x="3991674" y="1313979"/>
                </a:cubicBezTo>
                <a:close/>
                <a:moveTo>
                  <a:pt x="3991674" y="1361805"/>
                </a:moveTo>
                <a:lnTo>
                  <a:pt x="3992268" y="1350455"/>
                </a:lnTo>
                <a:lnTo>
                  <a:pt x="3992766" y="1350487"/>
                </a:lnTo>
                <a:lnTo>
                  <a:pt x="3992792" y="1349997"/>
                </a:lnTo>
                <a:lnTo>
                  <a:pt x="4009880" y="1351607"/>
                </a:lnTo>
                <a:cubicBezTo>
                  <a:pt x="4042265" y="1352130"/>
                  <a:pt x="4074158" y="1355088"/>
                  <a:pt x="4105341" y="1360601"/>
                </a:cubicBezTo>
                <a:cubicBezTo>
                  <a:pt x="4110917" y="1360185"/>
                  <a:pt x="4116245" y="1361126"/>
                  <a:pt x="4121554" y="1362128"/>
                </a:cubicBezTo>
                <a:lnTo>
                  <a:pt x="4121671" y="1363267"/>
                </a:lnTo>
                <a:cubicBezTo>
                  <a:pt x="4480521" y="1422199"/>
                  <a:pt x="4761560" y="1700770"/>
                  <a:pt x="4811836" y="2050865"/>
                </a:cubicBezTo>
                <a:cubicBezTo>
                  <a:pt x="4812004" y="2050918"/>
                  <a:pt x="4812173" y="2050923"/>
                  <a:pt x="4812342" y="2050928"/>
                </a:cubicBezTo>
                <a:lnTo>
                  <a:pt x="4812882" y="2057565"/>
                </a:lnTo>
                <a:cubicBezTo>
                  <a:pt x="4817939" y="2087572"/>
                  <a:pt x="4820389" y="2118214"/>
                  <a:pt x="4820346" y="2149296"/>
                </a:cubicBezTo>
                <a:cubicBezTo>
                  <a:pt x="4821658" y="2154882"/>
                  <a:pt x="4821717" y="2160506"/>
                  <a:pt x="4821717" y="2166144"/>
                </a:cubicBezTo>
                <a:cubicBezTo>
                  <a:pt x="4821717" y="2169936"/>
                  <a:pt x="4821690" y="2173722"/>
                  <a:pt x="4821124" y="2177494"/>
                </a:cubicBezTo>
                <a:lnTo>
                  <a:pt x="4820625" y="2177461"/>
                </a:lnTo>
                <a:lnTo>
                  <a:pt x="4820599" y="2177952"/>
                </a:lnTo>
                <a:lnTo>
                  <a:pt x="4803481" y="2176339"/>
                </a:lnTo>
                <a:cubicBezTo>
                  <a:pt x="4771106" y="2175816"/>
                  <a:pt x="4739226" y="2172858"/>
                  <a:pt x="4708054" y="2167348"/>
                </a:cubicBezTo>
                <a:cubicBezTo>
                  <a:pt x="4702477" y="2167764"/>
                  <a:pt x="4697148" y="2166823"/>
                  <a:pt x="4691837" y="2165820"/>
                </a:cubicBezTo>
                <a:lnTo>
                  <a:pt x="4691721" y="2164681"/>
                </a:lnTo>
                <a:cubicBezTo>
                  <a:pt x="4332870" y="2105749"/>
                  <a:pt x="4051831" y="1827177"/>
                  <a:pt x="4001556" y="1477083"/>
                </a:cubicBezTo>
                <a:cubicBezTo>
                  <a:pt x="4001388" y="1477030"/>
                  <a:pt x="4001220" y="1477026"/>
                  <a:pt x="4001050" y="1477021"/>
                </a:cubicBezTo>
                <a:lnTo>
                  <a:pt x="4000512" y="1470397"/>
                </a:lnTo>
                <a:cubicBezTo>
                  <a:pt x="3995453" y="1440385"/>
                  <a:pt x="3993003" y="1409736"/>
                  <a:pt x="3993045" y="1378647"/>
                </a:cubicBezTo>
                <a:cubicBezTo>
                  <a:pt x="3991733" y="1373063"/>
                  <a:pt x="3991674" y="1367441"/>
                  <a:pt x="3991674" y="1361805"/>
                </a:cubicBezTo>
                <a:close/>
                <a:moveTo>
                  <a:pt x="3991674" y="3010804"/>
                </a:moveTo>
                <a:cubicBezTo>
                  <a:pt x="3991674" y="3005122"/>
                  <a:pt x="3991733" y="2999453"/>
                  <a:pt x="3993045" y="2993823"/>
                </a:cubicBezTo>
                <a:cubicBezTo>
                  <a:pt x="3993003" y="2962495"/>
                  <a:pt x="3995452" y="2931610"/>
                  <a:pt x="4000509" y="2901366"/>
                </a:cubicBezTo>
                <a:lnTo>
                  <a:pt x="4001049" y="2894676"/>
                </a:lnTo>
                <a:cubicBezTo>
                  <a:pt x="4001218" y="2894671"/>
                  <a:pt x="4001387" y="2894666"/>
                  <a:pt x="4001555" y="2894613"/>
                </a:cubicBezTo>
                <a:cubicBezTo>
                  <a:pt x="4051831" y="2541747"/>
                  <a:pt x="4332870" y="2260970"/>
                  <a:pt x="4691720" y="2201572"/>
                </a:cubicBezTo>
                <a:lnTo>
                  <a:pt x="4691837" y="2200424"/>
                </a:lnTo>
                <a:cubicBezTo>
                  <a:pt x="4697146" y="2199414"/>
                  <a:pt x="4702474" y="2198466"/>
                  <a:pt x="4708050" y="2198885"/>
                </a:cubicBezTo>
                <a:cubicBezTo>
                  <a:pt x="4739233" y="2193328"/>
                  <a:pt x="4771126" y="2190347"/>
                  <a:pt x="4803512" y="2189820"/>
                </a:cubicBezTo>
                <a:lnTo>
                  <a:pt x="4820599" y="2188197"/>
                </a:lnTo>
                <a:lnTo>
                  <a:pt x="4820625" y="2188691"/>
                </a:lnTo>
                <a:lnTo>
                  <a:pt x="4821123" y="2188658"/>
                </a:lnTo>
                <a:lnTo>
                  <a:pt x="4821717" y="2200098"/>
                </a:lnTo>
                <a:cubicBezTo>
                  <a:pt x="4821717" y="2205779"/>
                  <a:pt x="4821658" y="2211446"/>
                  <a:pt x="4820346" y="2217074"/>
                </a:cubicBezTo>
                <a:cubicBezTo>
                  <a:pt x="4820389" y="2248409"/>
                  <a:pt x="4817938" y="2279300"/>
                  <a:pt x="4812879" y="2309550"/>
                </a:cubicBezTo>
                <a:lnTo>
                  <a:pt x="4812341" y="2316226"/>
                </a:lnTo>
                <a:cubicBezTo>
                  <a:pt x="4812171" y="2316231"/>
                  <a:pt x="4812003" y="2316236"/>
                  <a:pt x="4811835" y="2316289"/>
                </a:cubicBezTo>
                <a:cubicBezTo>
                  <a:pt x="4761560" y="2669154"/>
                  <a:pt x="4480521" y="2949931"/>
                  <a:pt x="4121670" y="3009330"/>
                </a:cubicBezTo>
                <a:lnTo>
                  <a:pt x="4121554" y="3010478"/>
                </a:lnTo>
                <a:cubicBezTo>
                  <a:pt x="4116243" y="3011489"/>
                  <a:pt x="4110914" y="3012437"/>
                  <a:pt x="4105337" y="3012018"/>
                </a:cubicBezTo>
                <a:cubicBezTo>
                  <a:pt x="4074165" y="3017572"/>
                  <a:pt x="4042285" y="3020553"/>
                  <a:pt x="4009911" y="3021080"/>
                </a:cubicBezTo>
                <a:lnTo>
                  <a:pt x="3992792" y="3022706"/>
                </a:lnTo>
                <a:lnTo>
                  <a:pt x="3992766" y="3022211"/>
                </a:lnTo>
                <a:lnTo>
                  <a:pt x="3992267" y="3022244"/>
                </a:lnTo>
                <a:cubicBezTo>
                  <a:pt x="3991701" y="3018442"/>
                  <a:pt x="3991674" y="3014626"/>
                  <a:pt x="3991674" y="3010804"/>
                </a:cubicBezTo>
                <a:close/>
                <a:moveTo>
                  <a:pt x="3991674" y="3058630"/>
                </a:moveTo>
                <a:lnTo>
                  <a:pt x="3992268" y="3047280"/>
                </a:lnTo>
                <a:lnTo>
                  <a:pt x="3992766" y="3047312"/>
                </a:lnTo>
                <a:lnTo>
                  <a:pt x="3992792" y="3046822"/>
                </a:lnTo>
                <a:lnTo>
                  <a:pt x="4009880" y="3048432"/>
                </a:lnTo>
                <a:cubicBezTo>
                  <a:pt x="4042265" y="3048955"/>
                  <a:pt x="4074158" y="3051913"/>
                  <a:pt x="4105341" y="3057426"/>
                </a:cubicBezTo>
                <a:cubicBezTo>
                  <a:pt x="4110917" y="3057010"/>
                  <a:pt x="4116245" y="3057951"/>
                  <a:pt x="4121554" y="3058953"/>
                </a:cubicBezTo>
                <a:lnTo>
                  <a:pt x="4121671" y="3060092"/>
                </a:lnTo>
                <a:cubicBezTo>
                  <a:pt x="4480521" y="3119024"/>
                  <a:pt x="4761560" y="3397595"/>
                  <a:pt x="4811836" y="3747690"/>
                </a:cubicBezTo>
                <a:cubicBezTo>
                  <a:pt x="4812004" y="3747743"/>
                  <a:pt x="4812173" y="3747748"/>
                  <a:pt x="4812342" y="3747753"/>
                </a:cubicBezTo>
                <a:lnTo>
                  <a:pt x="4812882" y="3754390"/>
                </a:lnTo>
                <a:cubicBezTo>
                  <a:pt x="4817939" y="3784397"/>
                  <a:pt x="4820389" y="3815039"/>
                  <a:pt x="4820346" y="3846121"/>
                </a:cubicBezTo>
                <a:cubicBezTo>
                  <a:pt x="4821658" y="3851707"/>
                  <a:pt x="4821717" y="3857331"/>
                  <a:pt x="4821717" y="3862969"/>
                </a:cubicBezTo>
                <a:cubicBezTo>
                  <a:pt x="4821717" y="3866761"/>
                  <a:pt x="4821690" y="3870547"/>
                  <a:pt x="4821124" y="3874319"/>
                </a:cubicBezTo>
                <a:lnTo>
                  <a:pt x="4820625" y="3874286"/>
                </a:lnTo>
                <a:lnTo>
                  <a:pt x="4820599" y="3874777"/>
                </a:lnTo>
                <a:lnTo>
                  <a:pt x="4803481" y="3873164"/>
                </a:lnTo>
                <a:cubicBezTo>
                  <a:pt x="4771106" y="3872641"/>
                  <a:pt x="4739226" y="3869683"/>
                  <a:pt x="4708054" y="3864173"/>
                </a:cubicBezTo>
                <a:cubicBezTo>
                  <a:pt x="4702477" y="3864589"/>
                  <a:pt x="4697148" y="3863648"/>
                  <a:pt x="4691837" y="3862645"/>
                </a:cubicBezTo>
                <a:lnTo>
                  <a:pt x="4691721" y="3861506"/>
                </a:lnTo>
                <a:cubicBezTo>
                  <a:pt x="4332870" y="3802574"/>
                  <a:pt x="4051831" y="3524002"/>
                  <a:pt x="4001556" y="3173908"/>
                </a:cubicBezTo>
                <a:cubicBezTo>
                  <a:pt x="4001388" y="3173856"/>
                  <a:pt x="4001220" y="3173851"/>
                  <a:pt x="4001050" y="3173846"/>
                </a:cubicBezTo>
                <a:lnTo>
                  <a:pt x="4000512" y="3167222"/>
                </a:lnTo>
                <a:cubicBezTo>
                  <a:pt x="3995453" y="3137210"/>
                  <a:pt x="3993003" y="3106561"/>
                  <a:pt x="3993045" y="3075472"/>
                </a:cubicBezTo>
                <a:cubicBezTo>
                  <a:pt x="3991733" y="3069889"/>
                  <a:pt x="3991674" y="3064266"/>
                  <a:pt x="3991674" y="3058630"/>
                </a:cubicBezTo>
                <a:close/>
                <a:moveTo>
                  <a:pt x="3293448" y="636203"/>
                </a:moveTo>
                <a:cubicBezTo>
                  <a:pt x="3346724" y="907109"/>
                  <a:pt x="3561567" y="1121906"/>
                  <a:pt x="3836757" y="1181049"/>
                </a:cubicBezTo>
                <a:cubicBezTo>
                  <a:pt x="3783482" y="910143"/>
                  <a:pt x="3568638" y="695346"/>
                  <a:pt x="3293448" y="636203"/>
                </a:cubicBezTo>
                <a:close/>
                <a:moveTo>
                  <a:pt x="3293448" y="2333028"/>
                </a:moveTo>
                <a:cubicBezTo>
                  <a:pt x="3346724" y="2603934"/>
                  <a:pt x="3561567" y="2818731"/>
                  <a:pt x="3836757" y="2877874"/>
                </a:cubicBezTo>
                <a:cubicBezTo>
                  <a:pt x="3783482" y="2606968"/>
                  <a:pt x="3568638" y="2392171"/>
                  <a:pt x="3293448" y="2333028"/>
                </a:cubicBezTo>
                <a:close/>
                <a:moveTo>
                  <a:pt x="3293446" y="2034258"/>
                </a:moveTo>
                <a:cubicBezTo>
                  <a:pt x="3568636" y="1975579"/>
                  <a:pt x="3783479" y="1762469"/>
                  <a:pt x="3836755" y="1493690"/>
                </a:cubicBezTo>
                <a:cubicBezTo>
                  <a:pt x="3561565" y="1552369"/>
                  <a:pt x="3346721" y="1765479"/>
                  <a:pt x="3293446" y="2034258"/>
                </a:cubicBezTo>
                <a:close/>
                <a:moveTo>
                  <a:pt x="3293446" y="3731083"/>
                </a:moveTo>
                <a:cubicBezTo>
                  <a:pt x="3568636" y="3672404"/>
                  <a:pt x="3783479" y="3459294"/>
                  <a:pt x="3836755" y="3190516"/>
                </a:cubicBezTo>
                <a:cubicBezTo>
                  <a:pt x="3561565" y="3249194"/>
                  <a:pt x="3346721" y="3462304"/>
                  <a:pt x="3293446" y="3731083"/>
                </a:cubicBezTo>
                <a:close/>
                <a:moveTo>
                  <a:pt x="3150081" y="503273"/>
                </a:moveTo>
                <a:lnTo>
                  <a:pt x="3150675" y="491833"/>
                </a:lnTo>
                <a:lnTo>
                  <a:pt x="3151173" y="491866"/>
                </a:lnTo>
                <a:lnTo>
                  <a:pt x="3151199" y="491372"/>
                </a:lnTo>
                <a:lnTo>
                  <a:pt x="3168287" y="492995"/>
                </a:lnTo>
                <a:cubicBezTo>
                  <a:pt x="3200672" y="493522"/>
                  <a:pt x="3232565" y="496503"/>
                  <a:pt x="3263748" y="502060"/>
                </a:cubicBezTo>
                <a:cubicBezTo>
                  <a:pt x="3269324" y="501641"/>
                  <a:pt x="3274652" y="502589"/>
                  <a:pt x="3279961" y="503599"/>
                </a:cubicBezTo>
                <a:lnTo>
                  <a:pt x="3280078" y="504747"/>
                </a:lnTo>
                <a:cubicBezTo>
                  <a:pt x="3638928" y="564145"/>
                  <a:pt x="3919967" y="844922"/>
                  <a:pt x="3970244" y="1197788"/>
                </a:cubicBezTo>
                <a:cubicBezTo>
                  <a:pt x="3970411" y="1197841"/>
                  <a:pt x="3970581" y="1197846"/>
                  <a:pt x="3970749" y="1197851"/>
                </a:cubicBezTo>
                <a:lnTo>
                  <a:pt x="3971290" y="1204541"/>
                </a:lnTo>
                <a:cubicBezTo>
                  <a:pt x="3976346" y="1234785"/>
                  <a:pt x="3978796" y="1265670"/>
                  <a:pt x="3978754" y="1296998"/>
                </a:cubicBezTo>
                <a:cubicBezTo>
                  <a:pt x="3980066" y="1302628"/>
                  <a:pt x="3980124" y="1308297"/>
                  <a:pt x="3980124" y="1313979"/>
                </a:cubicBezTo>
                <a:cubicBezTo>
                  <a:pt x="3980124" y="1317801"/>
                  <a:pt x="3980097" y="1321617"/>
                  <a:pt x="3979531" y="1325419"/>
                </a:cubicBezTo>
                <a:lnTo>
                  <a:pt x="3979032" y="1325386"/>
                </a:lnTo>
                <a:lnTo>
                  <a:pt x="3979006" y="1325881"/>
                </a:lnTo>
                <a:lnTo>
                  <a:pt x="3961888" y="1324255"/>
                </a:lnTo>
                <a:cubicBezTo>
                  <a:pt x="3929514" y="1323728"/>
                  <a:pt x="3897633" y="1320747"/>
                  <a:pt x="3866461" y="1315193"/>
                </a:cubicBezTo>
                <a:cubicBezTo>
                  <a:pt x="3860884" y="1315612"/>
                  <a:pt x="3855555" y="1314664"/>
                  <a:pt x="3850245" y="1313653"/>
                </a:cubicBezTo>
                <a:lnTo>
                  <a:pt x="3850129" y="1312505"/>
                </a:lnTo>
                <a:cubicBezTo>
                  <a:pt x="3491277" y="1253106"/>
                  <a:pt x="3210238" y="972329"/>
                  <a:pt x="3159963" y="619464"/>
                </a:cubicBezTo>
                <a:cubicBezTo>
                  <a:pt x="3159795" y="619411"/>
                  <a:pt x="3159627" y="619406"/>
                  <a:pt x="3159457" y="619401"/>
                </a:cubicBezTo>
                <a:lnTo>
                  <a:pt x="3158919" y="612725"/>
                </a:lnTo>
                <a:cubicBezTo>
                  <a:pt x="3153860" y="582475"/>
                  <a:pt x="3151410" y="551584"/>
                  <a:pt x="3151452" y="520249"/>
                </a:cubicBezTo>
                <a:cubicBezTo>
                  <a:pt x="3150140" y="514621"/>
                  <a:pt x="3150081" y="508954"/>
                  <a:pt x="3150081" y="503273"/>
                </a:cubicBezTo>
                <a:close/>
                <a:moveTo>
                  <a:pt x="3150081" y="2200098"/>
                </a:moveTo>
                <a:lnTo>
                  <a:pt x="3150675" y="2188658"/>
                </a:lnTo>
                <a:lnTo>
                  <a:pt x="3151173" y="2188691"/>
                </a:lnTo>
                <a:lnTo>
                  <a:pt x="3151199" y="2188197"/>
                </a:lnTo>
                <a:lnTo>
                  <a:pt x="3168287" y="2189820"/>
                </a:lnTo>
                <a:cubicBezTo>
                  <a:pt x="3200672" y="2190347"/>
                  <a:pt x="3232565" y="2193328"/>
                  <a:pt x="3263748" y="2198885"/>
                </a:cubicBezTo>
                <a:cubicBezTo>
                  <a:pt x="3269324" y="2198466"/>
                  <a:pt x="3274652" y="2199414"/>
                  <a:pt x="3279961" y="2200424"/>
                </a:cubicBezTo>
                <a:lnTo>
                  <a:pt x="3280078" y="2201572"/>
                </a:lnTo>
                <a:cubicBezTo>
                  <a:pt x="3638928" y="2260970"/>
                  <a:pt x="3919967" y="2541747"/>
                  <a:pt x="3970244" y="2894613"/>
                </a:cubicBezTo>
                <a:cubicBezTo>
                  <a:pt x="3970411" y="2894666"/>
                  <a:pt x="3970581" y="2894671"/>
                  <a:pt x="3970749" y="2894676"/>
                </a:cubicBezTo>
                <a:lnTo>
                  <a:pt x="3971290" y="2901366"/>
                </a:lnTo>
                <a:cubicBezTo>
                  <a:pt x="3976346" y="2931610"/>
                  <a:pt x="3978796" y="2962495"/>
                  <a:pt x="3978754" y="2993823"/>
                </a:cubicBezTo>
                <a:cubicBezTo>
                  <a:pt x="3980066" y="2999453"/>
                  <a:pt x="3980124" y="3005122"/>
                  <a:pt x="3980124" y="3010804"/>
                </a:cubicBezTo>
                <a:cubicBezTo>
                  <a:pt x="3980124" y="3014626"/>
                  <a:pt x="3980097" y="3018442"/>
                  <a:pt x="3979531" y="3022244"/>
                </a:cubicBezTo>
                <a:lnTo>
                  <a:pt x="3979032" y="3022211"/>
                </a:lnTo>
                <a:lnTo>
                  <a:pt x="3979006" y="3022706"/>
                </a:lnTo>
                <a:lnTo>
                  <a:pt x="3961888" y="3021080"/>
                </a:lnTo>
                <a:cubicBezTo>
                  <a:pt x="3929514" y="3020553"/>
                  <a:pt x="3897633" y="3017572"/>
                  <a:pt x="3866461" y="3012018"/>
                </a:cubicBezTo>
                <a:cubicBezTo>
                  <a:pt x="3860884" y="3012437"/>
                  <a:pt x="3855555" y="3011489"/>
                  <a:pt x="3850245" y="3010478"/>
                </a:cubicBezTo>
                <a:lnTo>
                  <a:pt x="3850129" y="3009330"/>
                </a:lnTo>
                <a:cubicBezTo>
                  <a:pt x="3491277" y="2949931"/>
                  <a:pt x="3210238" y="2669154"/>
                  <a:pt x="3159963" y="2316289"/>
                </a:cubicBezTo>
                <a:cubicBezTo>
                  <a:pt x="3159795" y="2316236"/>
                  <a:pt x="3159627" y="2316231"/>
                  <a:pt x="3159457" y="2316226"/>
                </a:cubicBezTo>
                <a:lnTo>
                  <a:pt x="3158919" y="2309550"/>
                </a:lnTo>
                <a:cubicBezTo>
                  <a:pt x="3153860" y="2279300"/>
                  <a:pt x="3151410" y="2248409"/>
                  <a:pt x="3151452" y="2217074"/>
                </a:cubicBezTo>
                <a:cubicBezTo>
                  <a:pt x="3150140" y="2211446"/>
                  <a:pt x="3150081" y="2205779"/>
                  <a:pt x="3150081" y="2200098"/>
                </a:cubicBezTo>
                <a:close/>
                <a:moveTo>
                  <a:pt x="3150081" y="3896923"/>
                </a:moveTo>
                <a:lnTo>
                  <a:pt x="3150675" y="3885483"/>
                </a:lnTo>
                <a:lnTo>
                  <a:pt x="3151173" y="3885516"/>
                </a:lnTo>
                <a:lnTo>
                  <a:pt x="3151199" y="3885022"/>
                </a:lnTo>
                <a:lnTo>
                  <a:pt x="3168287" y="3886645"/>
                </a:lnTo>
                <a:cubicBezTo>
                  <a:pt x="3200672" y="3887172"/>
                  <a:pt x="3232565" y="3890153"/>
                  <a:pt x="3263748" y="3895710"/>
                </a:cubicBezTo>
                <a:cubicBezTo>
                  <a:pt x="3269324" y="3895291"/>
                  <a:pt x="3274652" y="3896239"/>
                  <a:pt x="3279961" y="3897249"/>
                </a:cubicBezTo>
                <a:lnTo>
                  <a:pt x="3280078" y="3898397"/>
                </a:lnTo>
                <a:cubicBezTo>
                  <a:pt x="3514137" y="3937139"/>
                  <a:pt x="3715094" y="4070062"/>
                  <a:pt x="3840331" y="4255797"/>
                </a:cubicBezTo>
                <a:lnTo>
                  <a:pt x="3868775" y="4305008"/>
                </a:lnTo>
                <a:lnTo>
                  <a:pt x="3717725" y="4305008"/>
                </a:lnTo>
                <a:lnTo>
                  <a:pt x="3665602" y="4241205"/>
                </a:lnTo>
                <a:cubicBezTo>
                  <a:pt x="3568906" y="4136681"/>
                  <a:pt x="3439699" y="4061285"/>
                  <a:pt x="3293448" y="4029853"/>
                </a:cubicBezTo>
                <a:cubicBezTo>
                  <a:pt x="3310695" y="4117553"/>
                  <a:pt x="3344874" y="4199373"/>
                  <a:pt x="3392629" y="4271827"/>
                </a:cubicBezTo>
                <a:lnTo>
                  <a:pt x="3419311" y="4305008"/>
                </a:lnTo>
                <a:lnTo>
                  <a:pt x="3265201" y="4305008"/>
                </a:lnTo>
                <a:lnTo>
                  <a:pt x="3235080" y="4254710"/>
                </a:lnTo>
                <a:cubicBezTo>
                  <a:pt x="3197877" y="4179889"/>
                  <a:pt x="3172145" y="4098618"/>
                  <a:pt x="3159963" y="4013114"/>
                </a:cubicBezTo>
                <a:cubicBezTo>
                  <a:pt x="3159795" y="4013061"/>
                  <a:pt x="3159627" y="4013056"/>
                  <a:pt x="3159457" y="4013051"/>
                </a:cubicBezTo>
                <a:lnTo>
                  <a:pt x="3158919" y="4006375"/>
                </a:lnTo>
                <a:cubicBezTo>
                  <a:pt x="3153860" y="3976125"/>
                  <a:pt x="3151410" y="3945234"/>
                  <a:pt x="3151452" y="3913899"/>
                </a:cubicBezTo>
                <a:cubicBezTo>
                  <a:pt x="3150140" y="3908271"/>
                  <a:pt x="3150081" y="3902604"/>
                  <a:pt x="3150081" y="3896923"/>
                </a:cubicBezTo>
                <a:close/>
                <a:moveTo>
                  <a:pt x="3150079" y="469318"/>
                </a:moveTo>
                <a:cubicBezTo>
                  <a:pt x="3150079" y="463681"/>
                  <a:pt x="3150138" y="458057"/>
                  <a:pt x="3151450" y="452471"/>
                </a:cubicBezTo>
                <a:cubicBezTo>
                  <a:pt x="3151408" y="421389"/>
                  <a:pt x="3153857" y="390746"/>
                  <a:pt x="3158914" y="360740"/>
                </a:cubicBezTo>
                <a:lnTo>
                  <a:pt x="3159454" y="354103"/>
                </a:lnTo>
                <a:cubicBezTo>
                  <a:pt x="3159623" y="354098"/>
                  <a:pt x="3159792" y="354093"/>
                  <a:pt x="3159960" y="354040"/>
                </a:cubicBezTo>
                <a:cubicBezTo>
                  <a:pt x="3173111" y="262463"/>
                  <a:pt x="3202052" y="175780"/>
                  <a:pt x="3244173" y="96778"/>
                </a:cubicBezTo>
                <a:lnTo>
                  <a:pt x="3306807" y="0"/>
                </a:lnTo>
                <a:lnTo>
                  <a:pt x="3475182" y="0"/>
                </a:lnTo>
                <a:lnTo>
                  <a:pt x="3406954" y="76659"/>
                </a:lnTo>
                <a:cubicBezTo>
                  <a:pt x="3351687" y="153496"/>
                  <a:pt x="3312372" y="241952"/>
                  <a:pt x="3293446" y="337433"/>
                </a:cubicBezTo>
                <a:cubicBezTo>
                  <a:pt x="3476486" y="298404"/>
                  <a:pt x="3632827" y="191052"/>
                  <a:pt x="3732420" y="44350"/>
                </a:cubicBezTo>
                <a:lnTo>
                  <a:pt x="3754649" y="0"/>
                </a:lnTo>
                <a:lnTo>
                  <a:pt x="3903287" y="0"/>
                </a:lnTo>
                <a:lnTo>
                  <a:pt x="3851448" y="95636"/>
                </a:lnTo>
                <a:cubicBezTo>
                  <a:pt x="3727674" y="289169"/>
                  <a:pt x="3521481" y="428211"/>
                  <a:pt x="3280075" y="467856"/>
                </a:cubicBezTo>
                <a:lnTo>
                  <a:pt x="3279959" y="468995"/>
                </a:lnTo>
                <a:cubicBezTo>
                  <a:pt x="3274648" y="469998"/>
                  <a:pt x="3269319" y="470939"/>
                  <a:pt x="3263742" y="470523"/>
                </a:cubicBezTo>
                <a:cubicBezTo>
                  <a:pt x="3232570" y="476033"/>
                  <a:pt x="3200690" y="478991"/>
                  <a:pt x="3168316" y="479514"/>
                </a:cubicBezTo>
                <a:lnTo>
                  <a:pt x="3151197" y="481127"/>
                </a:lnTo>
                <a:lnTo>
                  <a:pt x="3151171" y="480636"/>
                </a:lnTo>
                <a:lnTo>
                  <a:pt x="3150672" y="480669"/>
                </a:lnTo>
                <a:cubicBezTo>
                  <a:pt x="3150106" y="476896"/>
                  <a:pt x="3150079" y="473110"/>
                  <a:pt x="3150079" y="469318"/>
                </a:cubicBezTo>
                <a:close/>
                <a:moveTo>
                  <a:pt x="3150079" y="2166144"/>
                </a:moveTo>
                <a:cubicBezTo>
                  <a:pt x="3150079" y="2160506"/>
                  <a:pt x="3150138" y="2154882"/>
                  <a:pt x="3151450" y="2149296"/>
                </a:cubicBezTo>
                <a:cubicBezTo>
                  <a:pt x="3151408" y="2118214"/>
                  <a:pt x="3153857" y="2087572"/>
                  <a:pt x="3158914" y="2057565"/>
                </a:cubicBezTo>
                <a:lnTo>
                  <a:pt x="3159454" y="2050928"/>
                </a:lnTo>
                <a:cubicBezTo>
                  <a:pt x="3159623" y="2050923"/>
                  <a:pt x="3159792" y="2050918"/>
                  <a:pt x="3159960" y="2050865"/>
                </a:cubicBezTo>
                <a:cubicBezTo>
                  <a:pt x="3210236" y="1700770"/>
                  <a:pt x="3491275" y="1422199"/>
                  <a:pt x="3850126" y="1363267"/>
                </a:cubicBezTo>
                <a:lnTo>
                  <a:pt x="3850243" y="1362128"/>
                </a:lnTo>
                <a:cubicBezTo>
                  <a:pt x="3855551" y="1361126"/>
                  <a:pt x="3860879" y="1360185"/>
                  <a:pt x="3866455" y="1360601"/>
                </a:cubicBezTo>
                <a:cubicBezTo>
                  <a:pt x="3897639" y="1355088"/>
                  <a:pt x="3929531" y="1352130"/>
                  <a:pt x="3961917" y="1351607"/>
                </a:cubicBezTo>
                <a:lnTo>
                  <a:pt x="3979004" y="1349997"/>
                </a:lnTo>
                <a:lnTo>
                  <a:pt x="3979030" y="1350487"/>
                </a:lnTo>
                <a:lnTo>
                  <a:pt x="3979528" y="1350455"/>
                </a:lnTo>
                <a:lnTo>
                  <a:pt x="3980122" y="1361805"/>
                </a:lnTo>
                <a:cubicBezTo>
                  <a:pt x="3980122" y="1367441"/>
                  <a:pt x="3980064" y="1373063"/>
                  <a:pt x="3978752" y="1378647"/>
                </a:cubicBezTo>
                <a:cubicBezTo>
                  <a:pt x="3978794" y="1409736"/>
                  <a:pt x="3976343" y="1440385"/>
                  <a:pt x="3971285" y="1470397"/>
                </a:cubicBezTo>
                <a:lnTo>
                  <a:pt x="3970746" y="1477021"/>
                </a:lnTo>
                <a:cubicBezTo>
                  <a:pt x="3970577" y="1477026"/>
                  <a:pt x="3970408" y="1477030"/>
                  <a:pt x="3970241" y="1477083"/>
                </a:cubicBezTo>
                <a:cubicBezTo>
                  <a:pt x="3919965" y="1827177"/>
                  <a:pt x="3638926" y="2105749"/>
                  <a:pt x="3280075" y="2164681"/>
                </a:cubicBezTo>
                <a:lnTo>
                  <a:pt x="3279959" y="2165820"/>
                </a:lnTo>
                <a:cubicBezTo>
                  <a:pt x="3274648" y="2166823"/>
                  <a:pt x="3269319" y="2167764"/>
                  <a:pt x="3263742" y="2167348"/>
                </a:cubicBezTo>
                <a:cubicBezTo>
                  <a:pt x="3232570" y="2172858"/>
                  <a:pt x="3200690" y="2175816"/>
                  <a:pt x="3168316" y="2176339"/>
                </a:cubicBezTo>
                <a:lnTo>
                  <a:pt x="3151197" y="2177952"/>
                </a:lnTo>
                <a:lnTo>
                  <a:pt x="3151171" y="2177461"/>
                </a:lnTo>
                <a:lnTo>
                  <a:pt x="3150672" y="2177494"/>
                </a:lnTo>
                <a:cubicBezTo>
                  <a:pt x="3150106" y="2173722"/>
                  <a:pt x="3150079" y="2169936"/>
                  <a:pt x="3150079" y="2166144"/>
                </a:cubicBezTo>
                <a:close/>
                <a:moveTo>
                  <a:pt x="3150079" y="3862969"/>
                </a:moveTo>
                <a:cubicBezTo>
                  <a:pt x="3150079" y="3857331"/>
                  <a:pt x="3150138" y="3851707"/>
                  <a:pt x="3151450" y="3846121"/>
                </a:cubicBezTo>
                <a:cubicBezTo>
                  <a:pt x="3151408" y="3815039"/>
                  <a:pt x="3153857" y="3784397"/>
                  <a:pt x="3158914" y="3754390"/>
                </a:cubicBezTo>
                <a:lnTo>
                  <a:pt x="3159454" y="3747753"/>
                </a:lnTo>
                <a:cubicBezTo>
                  <a:pt x="3159623" y="3747748"/>
                  <a:pt x="3159792" y="3747743"/>
                  <a:pt x="3159960" y="3747690"/>
                </a:cubicBezTo>
                <a:cubicBezTo>
                  <a:pt x="3210236" y="3397595"/>
                  <a:pt x="3491275" y="3119024"/>
                  <a:pt x="3850126" y="3060092"/>
                </a:cubicBezTo>
                <a:lnTo>
                  <a:pt x="3850243" y="3058953"/>
                </a:lnTo>
                <a:cubicBezTo>
                  <a:pt x="3855551" y="3057951"/>
                  <a:pt x="3860879" y="3057010"/>
                  <a:pt x="3866455" y="3057426"/>
                </a:cubicBezTo>
                <a:cubicBezTo>
                  <a:pt x="3897639" y="3051913"/>
                  <a:pt x="3929531" y="3048955"/>
                  <a:pt x="3961917" y="3048432"/>
                </a:cubicBezTo>
                <a:lnTo>
                  <a:pt x="3979004" y="3046822"/>
                </a:lnTo>
                <a:lnTo>
                  <a:pt x="3979030" y="3047312"/>
                </a:lnTo>
                <a:lnTo>
                  <a:pt x="3979528" y="3047280"/>
                </a:lnTo>
                <a:lnTo>
                  <a:pt x="3980122" y="3058630"/>
                </a:lnTo>
                <a:cubicBezTo>
                  <a:pt x="3980122" y="3064266"/>
                  <a:pt x="3980064" y="3069889"/>
                  <a:pt x="3978752" y="3075472"/>
                </a:cubicBezTo>
                <a:cubicBezTo>
                  <a:pt x="3978794" y="3106561"/>
                  <a:pt x="3976343" y="3137210"/>
                  <a:pt x="3971285" y="3167222"/>
                </a:cubicBezTo>
                <a:lnTo>
                  <a:pt x="3970746" y="3173846"/>
                </a:lnTo>
                <a:cubicBezTo>
                  <a:pt x="3970577" y="3173851"/>
                  <a:pt x="3970408" y="3173856"/>
                  <a:pt x="3970241" y="3173908"/>
                </a:cubicBezTo>
                <a:cubicBezTo>
                  <a:pt x="3919965" y="3524002"/>
                  <a:pt x="3638926" y="3802574"/>
                  <a:pt x="3280075" y="3861506"/>
                </a:cubicBezTo>
                <a:lnTo>
                  <a:pt x="3279959" y="3862645"/>
                </a:lnTo>
                <a:cubicBezTo>
                  <a:pt x="3274648" y="3863648"/>
                  <a:pt x="3269319" y="3864589"/>
                  <a:pt x="3263742" y="3864173"/>
                </a:cubicBezTo>
                <a:cubicBezTo>
                  <a:pt x="3232570" y="3869683"/>
                  <a:pt x="3200690" y="3872641"/>
                  <a:pt x="3168316" y="3873164"/>
                </a:cubicBezTo>
                <a:lnTo>
                  <a:pt x="3151197" y="3874777"/>
                </a:lnTo>
                <a:lnTo>
                  <a:pt x="3151171" y="3874286"/>
                </a:lnTo>
                <a:lnTo>
                  <a:pt x="3150672" y="3874319"/>
                </a:lnTo>
                <a:cubicBezTo>
                  <a:pt x="3150106" y="3870547"/>
                  <a:pt x="3150079" y="3866761"/>
                  <a:pt x="3150079" y="3862969"/>
                </a:cubicBezTo>
                <a:close/>
                <a:moveTo>
                  <a:pt x="2442890" y="1181049"/>
                </a:moveTo>
                <a:cubicBezTo>
                  <a:pt x="2718080" y="1121906"/>
                  <a:pt x="2932923" y="907109"/>
                  <a:pt x="2986199" y="636203"/>
                </a:cubicBezTo>
                <a:cubicBezTo>
                  <a:pt x="2711009" y="695346"/>
                  <a:pt x="2496165" y="910143"/>
                  <a:pt x="2442890" y="1181049"/>
                </a:cubicBezTo>
                <a:close/>
                <a:moveTo>
                  <a:pt x="2442890" y="1493690"/>
                </a:moveTo>
                <a:cubicBezTo>
                  <a:pt x="2496166" y="1762469"/>
                  <a:pt x="2711009" y="1975579"/>
                  <a:pt x="2986199" y="2034258"/>
                </a:cubicBezTo>
                <a:cubicBezTo>
                  <a:pt x="2932924" y="1765479"/>
                  <a:pt x="2718080" y="1552369"/>
                  <a:pt x="2442890" y="1493690"/>
                </a:cubicBezTo>
                <a:close/>
                <a:moveTo>
                  <a:pt x="2442890" y="2877874"/>
                </a:moveTo>
                <a:cubicBezTo>
                  <a:pt x="2718080" y="2818731"/>
                  <a:pt x="2932923" y="2603934"/>
                  <a:pt x="2986199" y="2333028"/>
                </a:cubicBezTo>
                <a:cubicBezTo>
                  <a:pt x="2711009" y="2392171"/>
                  <a:pt x="2496165" y="2606968"/>
                  <a:pt x="2442890" y="2877874"/>
                </a:cubicBezTo>
                <a:close/>
                <a:moveTo>
                  <a:pt x="2442890" y="3190516"/>
                </a:moveTo>
                <a:cubicBezTo>
                  <a:pt x="2496166" y="3459294"/>
                  <a:pt x="2711009" y="3672404"/>
                  <a:pt x="2986199" y="3731083"/>
                </a:cubicBezTo>
                <a:cubicBezTo>
                  <a:pt x="2932924" y="3462304"/>
                  <a:pt x="2718080" y="3249194"/>
                  <a:pt x="2442890" y="3190516"/>
                </a:cubicBezTo>
                <a:close/>
                <a:moveTo>
                  <a:pt x="2410871" y="4305008"/>
                </a:moveTo>
                <a:lnTo>
                  <a:pt x="2439316" y="4255797"/>
                </a:lnTo>
                <a:cubicBezTo>
                  <a:pt x="2564553" y="4070062"/>
                  <a:pt x="2765510" y="3937139"/>
                  <a:pt x="2999569" y="3898397"/>
                </a:cubicBezTo>
                <a:lnTo>
                  <a:pt x="2999686" y="3897249"/>
                </a:lnTo>
                <a:cubicBezTo>
                  <a:pt x="3004995" y="3896239"/>
                  <a:pt x="3010323" y="3895291"/>
                  <a:pt x="3015899" y="3895710"/>
                </a:cubicBezTo>
                <a:cubicBezTo>
                  <a:pt x="3047082" y="3890153"/>
                  <a:pt x="3078975" y="3887172"/>
                  <a:pt x="3111360" y="3886645"/>
                </a:cubicBezTo>
                <a:lnTo>
                  <a:pt x="3128448" y="3885022"/>
                </a:lnTo>
                <a:lnTo>
                  <a:pt x="3128474" y="3885516"/>
                </a:lnTo>
                <a:lnTo>
                  <a:pt x="3128972" y="3885483"/>
                </a:lnTo>
                <a:lnTo>
                  <a:pt x="3129566" y="3896923"/>
                </a:lnTo>
                <a:cubicBezTo>
                  <a:pt x="3129566" y="3902604"/>
                  <a:pt x="3129507" y="3908271"/>
                  <a:pt x="3128195" y="3913899"/>
                </a:cubicBezTo>
                <a:cubicBezTo>
                  <a:pt x="3128237" y="3945234"/>
                  <a:pt x="3125787" y="3976125"/>
                  <a:pt x="3120728" y="4006375"/>
                </a:cubicBezTo>
                <a:lnTo>
                  <a:pt x="3120190" y="4013051"/>
                </a:lnTo>
                <a:cubicBezTo>
                  <a:pt x="3120020" y="4013056"/>
                  <a:pt x="3119852" y="4013061"/>
                  <a:pt x="3119684" y="4013114"/>
                </a:cubicBezTo>
                <a:cubicBezTo>
                  <a:pt x="3107502" y="4098618"/>
                  <a:pt x="3081770" y="4179889"/>
                  <a:pt x="3044567" y="4254710"/>
                </a:cubicBezTo>
                <a:lnTo>
                  <a:pt x="3014445" y="4305008"/>
                </a:lnTo>
                <a:lnTo>
                  <a:pt x="2860336" y="4305008"/>
                </a:lnTo>
                <a:lnTo>
                  <a:pt x="2887018" y="4271827"/>
                </a:lnTo>
                <a:cubicBezTo>
                  <a:pt x="2934773" y="4199373"/>
                  <a:pt x="2968952" y="4117553"/>
                  <a:pt x="2986199" y="4029853"/>
                </a:cubicBezTo>
                <a:cubicBezTo>
                  <a:pt x="2839947" y="4061285"/>
                  <a:pt x="2710740" y="4136681"/>
                  <a:pt x="2614045" y="4241205"/>
                </a:cubicBezTo>
                <a:lnTo>
                  <a:pt x="2561922" y="4305008"/>
                </a:lnTo>
                <a:close/>
                <a:moveTo>
                  <a:pt x="2376360" y="0"/>
                </a:moveTo>
                <a:lnTo>
                  <a:pt x="2524998" y="0"/>
                </a:lnTo>
                <a:lnTo>
                  <a:pt x="2547226" y="44350"/>
                </a:lnTo>
                <a:cubicBezTo>
                  <a:pt x="2646819" y="191052"/>
                  <a:pt x="2803160" y="298404"/>
                  <a:pt x="2986199" y="337433"/>
                </a:cubicBezTo>
                <a:cubicBezTo>
                  <a:pt x="2967274" y="241952"/>
                  <a:pt x="2927959" y="153496"/>
                  <a:pt x="2872691" y="76659"/>
                </a:cubicBezTo>
                <a:lnTo>
                  <a:pt x="2804464" y="0"/>
                </a:lnTo>
                <a:lnTo>
                  <a:pt x="2972839" y="0"/>
                </a:lnTo>
                <a:lnTo>
                  <a:pt x="3035473" y="96778"/>
                </a:lnTo>
                <a:cubicBezTo>
                  <a:pt x="3077594" y="175780"/>
                  <a:pt x="3106535" y="262463"/>
                  <a:pt x="3119686" y="354040"/>
                </a:cubicBezTo>
                <a:cubicBezTo>
                  <a:pt x="3119853" y="354093"/>
                  <a:pt x="3120023" y="354098"/>
                  <a:pt x="3120191" y="354103"/>
                </a:cubicBezTo>
                <a:lnTo>
                  <a:pt x="3120732" y="360740"/>
                </a:lnTo>
                <a:cubicBezTo>
                  <a:pt x="3125788" y="390746"/>
                  <a:pt x="3128238" y="421389"/>
                  <a:pt x="3128196" y="452471"/>
                </a:cubicBezTo>
                <a:cubicBezTo>
                  <a:pt x="3129508" y="458057"/>
                  <a:pt x="3129566" y="463681"/>
                  <a:pt x="3129566" y="469318"/>
                </a:cubicBezTo>
                <a:cubicBezTo>
                  <a:pt x="3129566" y="473110"/>
                  <a:pt x="3129539" y="476896"/>
                  <a:pt x="3128973" y="480669"/>
                </a:cubicBezTo>
                <a:lnTo>
                  <a:pt x="3128474" y="480636"/>
                </a:lnTo>
                <a:lnTo>
                  <a:pt x="3128448" y="481127"/>
                </a:lnTo>
                <a:lnTo>
                  <a:pt x="3111330" y="479514"/>
                </a:lnTo>
                <a:cubicBezTo>
                  <a:pt x="3078956" y="478991"/>
                  <a:pt x="3047075" y="476033"/>
                  <a:pt x="3015903" y="470523"/>
                </a:cubicBezTo>
                <a:cubicBezTo>
                  <a:pt x="3010326" y="470939"/>
                  <a:pt x="3004997" y="469998"/>
                  <a:pt x="2999687" y="468995"/>
                </a:cubicBezTo>
                <a:lnTo>
                  <a:pt x="2999571" y="467856"/>
                </a:lnTo>
                <a:cubicBezTo>
                  <a:pt x="2758165" y="428211"/>
                  <a:pt x="2551973" y="289169"/>
                  <a:pt x="2428199" y="95636"/>
                </a:cubicBezTo>
                <a:close/>
                <a:moveTo>
                  <a:pt x="2299523" y="1313979"/>
                </a:moveTo>
                <a:cubicBezTo>
                  <a:pt x="2299523" y="1308297"/>
                  <a:pt x="2299582" y="1302628"/>
                  <a:pt x="2300894" y="1296998"/>
                </a:cubicBezTo>
                <a:cubicBezTo>
                  <a:pt x="2300852" y="1265670"/>
                  <a:pt x="2303301" y="1234785"/>
                  <a:pt x="2308358" y="1204541"/>
                </a:cubicBezTo>
                <a:lnTo>
                  <a:pt x="2308898" y="1197851"/>
                </a:lnTo>
                <a:cubicBezTo>
                  <a:pt x="2309067" y="1197846"/>
                  <a:pt x="2309236" y="1197841"/>
                  <a:pt x="2309404" y="1197788"/>
                </a:cubicBezTo>
                <a:cubicBezTo>
                  <a:pt x="2359680" y="844922"/>
                  <a:pt x="2640719" y="564145"/>
                  <a:pt x="2999570" y="504747"/>
                </a:cubicBezTo>
                <a:lnTo>
                  <a:pt x="2999687" y="503599"/>
                </a:lnTo>
                <a:cubicBezTo>
                  <a:pt x="3004995" y="502589"/>
                  <a:pt x="3010323" y="501641"/>
                  <a:pt x="3015899" y="502060"/>
                </a:cubicBezTo>
                <a:cubicBezTo>
                  <a:pt x="3047083" y="496503"/>
                  <a:pt x="3078975" y="493522"/>
                  <a:pt x="3111361" y="492995"/>
                </a:cubicBezTo>
                <a:lnTo>
                  <a:pt x="3128448" y="491372"/>
                </a:lnTo>
                <a:lnTo>
                  <a:pt x="3128474" y="491866"/>
                </a:lnTo>
                <a:lnTo>
                  <a:pt x="3128972" y="491833"/>
                </a:lnTo>
                <a:lnTo>
                  <a:pt x="3129566" y="503273"/>
                </a:lnTo>
                <a:cubicBezTo>
                  <a:pt x="3129566" y="508954"/>
                  <a:pt x="3129508" y="514621"/>
                  <a:pt x="3128196" y="520249"/>
                </a:cubicBezTo>
                <a:cubicBezTo>
                  <a:pt x="3128238" y="551584"/>
                  <a:pt x="3125787" y="582475"/>
                  <a:pt x="3120729" y="612725"/>
                </a:cubicBezTo>
                <a:lnTo>
                  <a:pt x="3120190" y="619401"/>
                </a:lnTo>
                <a:cubicBezTo>
                  <a:pt x="3120021" y="619406"/>
                  <a:pt x="3119852" y="619411"/>
                  <a:pt x="3119685" y="619464"/>
                </a:cubicBezTo>
                <a:cubicBezTo>
                  <a:pt x="3069409" y="972329"/>
                  <a:pt x="2788370" y="1253106"/>
                  <a:pt x="2429519" y="1312505"/>
                </a:cubicBezTo>
                <a:lnTo>
                  <a:pt x="2429403" y="1313653"/>
                </a:lnTo>
                <a:cubicBezTo>
                  <a:pt x="2424092" y="1314664"/>
                  <a:pt x="2418763" y="1315612"/>
                  <a:pt x="2413186" y="1315193"/>
                </a:cubicBezTo>
                <a:cubicBezTo>
                  <a:pt x="2382014" y="1320747"/>
                  <a:pt x="2350134" y="1323728"/>
                  <a:pt x="2317760" y="1324255"/>
                </a:cubicBezTo>
                <a:lnTo>
                  <a:pt x="2300641" y="1325881"/>
                </a:lnTo>
                <a:lnTo>
                  <a:pt x="2300615" y="1325386"/>
                </a:lnTo>
                <a:lnTo>
                  <a:pt x="2300116" y="1325419"/>
                </a:lnTo>
                <a:cubicBezTo>
                  <a:pt x="2299550" y="1321617"/>
                  <a:pt x="2299523" y="1317801"/>
                  <a:pt x="2299523" y="1313979"/>
                </a:cubicBezTo>
                <a:close/>
                <a:moveTo>
                  <a:pt x="2299523" y="1361805"/>
                </a:moveTo>
                <a:lnTo>
                  <a:pt x="2300117" y="1350455"/>
                </a:lnTo>
                <a:lnTo>
                  <a:pt x="2300615" y="1350487"/>
                </a:lnTo>
                <a:lnTo>
                  <a:pt x="2300641" y="1349997"/>
                </a:lnTo>
                <a:lnTo>
                  <a:pt x="2317729" y="1351607"/>
                </a:lnTo>
                <a:cubicBezTo>
                  <a:pt x="2350114" y="1352130"/>
                  <a:pt x="2382007" y="1355088"/>
                  <a:pt x="2413190" y="1360601"/>
                </a:cubicBezTo>
                <a:cubicBezTo>
                  <a:pt x="2418766" y="1360185"/>
                  <a:pt x="2424094" y="1361126"/>
                  <a:pt x="2429403" y="1362128"/>
                </a:cubicBezTo>
                <a:lnTo>
                  <a:pt x="2429520" y="1363267"/>
                </a:lnTo>
                <a:cubicBezTo>
                  <a:pt x="2788370" y="1422199"/>
                  <a:pt x="3069409" y="1700770"/>
                  <a:pt x="3119686" y="2050865"/>
                </a:cubicBezTo>
                <a:cubicBezTo>
                  <a:pt x="3119853" y="2050918"/>
                  <a:pt x="3120023" y="2050923"/>
                  <a:pt x="3120191" y="2050928"/>
                </a:cubicBezTo>
                <a:lnTo>
                  <a:pt x="3120732" y="2057565"/>
                </a:lnTo>
                <a:cubicBezTo>
                  <a:pt x="3125788" y="2087572"/>
                  <a:pt x="3128238" y="2118214"/>
                  <a:pt x="3128196" y="2149296"/>
                </a:cubicBezTo>
                <a:cubicBezTo>
                  <a:pt x="3129508" y="2154882"/>
                  <a:pt x="3129566" y="2160506"/>
                  <a:pt x="3129566" y="2166144"/>
                </a:cubicBezTo>
                <a:cubicBezTo>
                  <a:pt x="3129566" y="2169936"/>
                  <a:pt x="3129539" y="2173722"/>
                  <a:pt x="3128973" y="2177494"/>
                </a:cubicBezTo>
                <a:lnTo>
                  <a:pt x="3128474" y="2177461"/>
                </a:lnTo>
                <a:lnTo>
                  <a:pt x="3128448" y="2177952"/>
                </a:lnTo>
                <a:lnTo>
                  <a:pt x="3111330" y="2176339"/>
                </a:lnTo>
                <a:cubicBezTo>
                  <a:pt x="3078956" y="2175816"/>
                  <a:pt x="3047075" y="2172858"/>
                  <a:pt x="3015903" y="2167348"/>
                </a:cubicBezTo>
                <a:cubicBezTo>
                  <a:pt x="3010326" y="2167764"/>
                  <a:pt x="3004997" y="2166823"/>
                  <a:pt x="2999687" y="2165820"/>
                </a:cubicBezTo>
                <a:lnTo>
                  <a:pt x="2999571" y="2164681"/>
                </a:lnTo>
                <a:cubicBezTo>
                  <a:pt x="2640719" y="2105749"/>
                  <a:pt x="2359680" y="1827177"/>
                  <a:pt x="2309405" y="1477083"/>
                </a:cubicBezTo>
                <a:cubicBezTo>
                  <a:pt x="2309237" y="1477030"/>
                  <a:pt x="2309069" y="1477026"/>
                  <a:pt x="2308899" y="1477021"/>
                </a:cubicBezTo>
                <a:lnTo>
                  <a:pt x="2308361" y="1470397"/>
                </a:lnTo>
                <a:cubicBezTo>
                  <a:pt x="2303302" y="1440385"/>
                  <a:pt x="2300852" y="1409736"/>
                  <a:pt x="2300894" y="1378647"/>
                </a:cubicBezTo>
                <a:cubicBezTo>
                  <a:pt x="2299582" y="1373063"/>
                  <a:pt x="2299523" y="1367441"/>
                  <a:pt x="2299523" y="1361805"/>
                </a:cubicBezTo>
                <a:close/>
                <a:moveTo>
                  <a:pt x="2299523" y="3010804"/>
                </a:moveTo>
                <a:cubicBezTo>
                  <a:pt x="2299523" y="3005122"/>
                  <a:pt x="2299582" y="2999453"/>
                  <a:pt x="2300894" y="2993823"/>
                </a:cubicBezTo>
                <a:cubicBezTo>
                  <a:pt x="2300852" y="2962495"/>
                  <a:pt x="2303301" y="2931610"/>
                  <a:pt x="2308358" y="2901366"/>
                </a:cubicBezTo>
                <a:lnTo>
                  <a:pt x="2308898" y="2894676"/>
                </a:lnTo>
                <a:cubicBezTo>
                  <a:pt x="2309067" y="2894671"/>
                  <a:pt x="2309236" y="2894666"/>
                  <a:pt x="2309404" y="2894613"/>
                </a:cubicBezTo>
                <a:cubicBezTo>
                  <a:pt x="2359680" y="2541747"/>
                  <a:pt x="2640719" y="2260970"/>
                  <a:pt x="2999570" y="2201572"/>
                </a:cubicBezTo>
                <a:lnTo>
                  <a:pt x="2999687" y="2200424"/>
                </a:lnTo>
                <a:cubicBezTo>
                  <a:pt x="3004995" y="2199414"/>
                  <a:pt x="3010323" y="2198466"/>
                  <a:pt x="3015899" y="2198885"/>
                </a:cubicBezTo>
                <a:cubicBezTo>
                  <a:pt x="3047083" y="2193328"/>
                  <a:pt x="3078975" y="2190347"/>
                  <a:pt x="3111361" y="2189820"/>
                </a:cubicBezTo>
                <a:lnTo>
                  <a:pt x="3128448" y="2188197"/>
                </a:lnTo>
                <a:lnTo>
                  <a:pt x="3128474" y="2188691"/>
                </a:lnTo>
                <a:lnTo>
                  <a:pt x="3128972" y="2188658"/>
                </a:lnTo>
                <a:lnTo>
                  <a:pt x="3129566" y="2200098"/>
                </a:lnTo>
                <a:cubicBezTo>
                  <a:pt x="3129566" y="2205779"/>
                  <a:pt x="3129508" y="2211446"/>
                  <a:pt x="3128196" y="2217074"/>
                </a:cubicBezTo>
                <a:cubicBezTo>
                  <a:pt x="3128238" y="2248409"/>
                  <a:pt x="3125787" y="2279300"/>
                  <a:pt x="3120729" y="2309550"/>
                </a:cubicBezTo>
                <a:lnTo>
                  <a:pt x="3120190" y="2316226"/>
                </a:lnTo>
                <a:cubicBezTo>
                  <a:pt x="3120021" y="2316231"/>
                  <a:pt x="3119852" y="2316236"/>
                  <a:pt x="3119685" y="2316289"/>
                </a:cubicBezTo>
                <a:cubicBezTo>
                  <a:pt x="3069409" y="2669154"/>
                  <a:pt x="2788370" y="2949931"/>
                  <a:pt x="2429519" y="3009330"/>
                </a:cubicBezTo>
                <a:lnTo>
                  <a:pt x="2429403" y="3010478"/>
                </a:lnTo>
                <a:cubicBezTo>
                  <a:pt x="2424092" y="3011489"/>
                  <a:pt x="2418763" y="3012437"/>
                  <a:pt x="2413186" y="3012018"/>
                </a:cubicBezTo>
                <a:cubicBezTo>
                  <a:pt x="2382014" y="3017572"/>
                  <a:pt x="2350134" y="3020553"/>
                  <a:pt x="2317760" y="3021080"/>
                </a:cubicBezTo>
                <a:lnTo>
                  <a:pt x="2300641" y="3022706"/>
                </a:lnTo>
                <a:lnTo>
                  <a:pt x="2300615" y="3022211"/>
                </a:lnTo>
                <a:lnTo>
                  <a:pt x="2300116" y="3022244"/>
                </a:lnTo>
                <a:cubicBezTo>
                  <a:pt x="2299550" y="3018442"/>
                  <a:pt x="2299523" y="3014626"/>
                  <a:pt x="2299523" y="3010804"/>
                </a:cubicBezTo>
                <a:close/>
                <a:moveTo>
                  <a:pt x="2299523" y="3058630"/>
                </a:moveTo>
                <a:lnTo>
                  <a:pt x="2300117" y="3047280"/>
                </a:lnTo>
                <a:lnTo>
                  <a:pt x="2300615" y="3047312"/>
                </a:lnTo>
                <a:lnTo>
                  <a:pt x="2300641" y="3046822"/>
                </a:lnTo>
                <a:lnTo>
                  <a:pt x="2317729" y="3048432"/>
                </a:lnTo>
                <a:cubicBezTo>
                  <a:pt x="2350114" y="3048955"/>
                  <a:pt x="2382007" y="3051913"/>
                  <a:pt x="2413190" y="3057426"/>
                </a:cubicBezTo>
                <a:cubicBezTo>
                  <a:pt x="2418766" y="3057010"/>
                  <a:pt x="2424094" y="3057951"/>
                  <a:pt x="2429403" y="3058953"/>
                </a:cubicBezTo>
                <a:lnTo>
                  <a:pt x="2429520" y="3060092"/>
                </a:lnTo>
                <a:cubicBezTo>
                  <a:pt x="2788370" y="3119024"/>
                  <a:pt x="3069409" y="3397595"/>
                  <a:pt x="3119686" y="3747690"/>
                </a:cubicBezTo>
                <a:cubicBezTo>
                  <a:pt x="3119853" y="3747743"/>
                  <a:pt x="3120023" y="3747748"/>
                  <a:pt x="3120191" y="3747753"/>
                </a:cubicBezTo>
                <a:lnTo>
                  <a:pt x="3120732" y="3754390"/>
                </a:lnTo>
                <a:cubicBezTo>
                  <a:pt x="3125788" y="3784397"/>
                  <a:pt x="3128238" y="3815039"/>
                  <a:pt x="3128196" y="3846121"/>
                </a:cubicBezTo>
                <a:cubicBezTo>
                  <a:pt x="3129508" y="3851707"/>
                  <a:pt x="3129566" y="3857331"/>
                  <a:pt x="3129566" y="3862969"/>
                </a:cubicBezTo>
                <a:cubicBezTo>
                  <a:pt x="3129566" y="3866761"/>
                  <a:pt x="3129539" y="3870547"/>
                  <a:pt x="3128973" y="3874319"/>
                </a:cubicBezTo>
                <a:lnTo>
                  <a:pt x="3128474" y="3874286"/>
                </a:lnTo>
                <a:lnTo>
                  <a:pt x="3128448" y="3874777"/>
                </a:lnTo>
                <a:lnTo>
                  <a:pt x="3111330" y="3873164"/>
                </a:lnTo>
                <a:cubicBezTo>
                  <a:pt x="3078956" y="3872641"/>
                  <a:pt x="3047075" y="3869683"/>
                  <a:pt x="3015903" y="3864173"/>
                </a:cubicBezTo>
                <a:cubicBezTo>
                  <a:pt x="3010326" y="3864589"/>
                  <a:pt x="3004997" y="3863648"/>
                  <a:pt x="2999687" y="3862645"/>
                </a:cubicBezTo>
                <a:lnTo>
                  <a:pt x="2999571" y="3861506"/>
                </a:lnTo>
                <a:cubicBezTo>
                  <a:pt x="2640719" y="3802574"/>
                  <a:pt x="2359680" y="3524002"/>
                  <a:pt x="2309405" y="3173908"/>
                </a:cubicBezTo>
                <a:cubicBezTo>
                  <a:pt x="2309237" y="3173856"/>
                  <a:pt x="2309069" y="3173851"/>
                  <a:pt x="2308899" y="3173846"/>
                </a:cubicBezTo>
                <a:lnTo>
                  <a:pt x="2308361" y="3167222"/>
                </a:lnTo>
                <a:cubicBezTo>
                  <a:pt x="2303302" y="3137210"/>
                  <a:pt x="2300852" y="3106561"/>
                  <a:pt x="2300894" y="3075472"/>
                </a:cubicBezTo>
                <a:cubicBezTo>
                  <a:pt x="2299582" y="3069889"/>
                  <a:pt x="2299523" y="3064266"/>
                  <a:pt x="2299523" y="3058630"/>
                </a:cubicBezTo>
                <a:close/>
                <a:moveTo>
                  <a:pt x="1601297" y="636203"/>
                </a:moveTo>
                <a:cubicBezTo>
                  <a:pt x="1654573" y="907109"/>
                  <a:pt x="1869416" y="1121906"/>
                  <a:pt x="2144606" y="1181049"/>
                </a:cubicBezTo>
                <a:cubicBezTo>
                  <a:pt x="2091331" y="910143"/>
                  <a:pt x="1876487" y="695346"/>
                  <a:pt x="1601297" y="636203"/>
                </a:cubicBezTo>
                <a:close/>
                <a:moveTo>
                  <a:pt x="1601297" y="2333028"/>
                </a:moveTo>
                <a:cubicBezTo>
                  <a:pt x="1654573" y="2603934"/>
                  <a:pt x="1869416" y="2818731"/>
                  <a:pt x="2144606" y="2877874"/>
                </a:cubicBezTo>
                <a:cubicBezTo>
                  <a:pt x="2091331" y="2606968"/>
                  <a:pt x="1876487" y="2392171"/>
                  <a:pt x="1601297" y="2333028"/>
                </a:cubicBezTo>
                <a:close/>
                <a:moveTo>
                  <a:pt x="1601295" y="2034258"/>
                </a:moveTo>
                <a:cubicBezTo>
                  <a:pt x="1876485" y="1975579"/>
                  <a:pt x="2091328" y="1762469"/>
                  <a:pt x="2144604" y="1493690"/>
                </a:cubicBezTo>
                <a:cubicBezTo>
                  <a:pt x="1869414" y="1552369"/>
                  <a:pt x="1654570" y="1765479"/>
                  <a:pt x="1601295" y="2034258"/>
                </a:cubicBezTo>
                <a:close/>
                <a:moveTo>
                  <a:pt x="1601295" y="3731083"/>
                </a:moveTo>
                <a:cubicBezTo>
                  <a:pt x="1876485" y="3672404"/>
                  <a:pt x="2091328" y="3459294"/>
                  <a:pt x="2144604" y="3190516"/>
                </a:cubicBezTo>
                <a:cubicBezTo>
                  <a:pt x="1869414" y="3249194"/>
                  <a:pt x="1654570" y="3462304"/>
                  <a:pt x="1601295" y="3731083"/>
                </a:cubicBezTo>
                <a:close/>
                <a:moveTo>
                  <a:pt x="1457930" y="503273"/>
                </a:moveTo>
                <a:lnTo>
                  <a:pt x="1458524" y="491833"/>
                </a:lnTo>
                <a:lnTo>
                  <a:pt x="1459022" y="491866"/>
                </a:lnTo>
                <a:lnTo>
                  <a:pt x="1459048" y="491372"/>
                </a:lnTo>
                <a:lnTo>
                  <a:pt x="1476135" y="492995"/>
                </a:lnTo>
                <a:cubicBezTo>
                  <a:pt x="1508521" y="493522"/>
                  <a:pt x="1540413" y="496503"/>
                  <a:pt x="1571597" y="502060"/>
                </a:cubicBezTo>
                <a:cubicBezTo>
                  <a:pt x="1577173" y="501641"/>
                  <a:pt x="1582501" y="502589"/>
                  <a:pt x="1587809" y="503599"/>
                </a:cubicBezTo>
                <a:lnTo>
                  <a:pt x="1587926" y="504747"/>
                </a:lnTo>
                <a:cubicBezTo>
                  <a:pt x="1946777" y="564145"/>
                  <a:pt x="2227816" y="844922"/>
                  <a:pt x="2278092" y="1197788"/>
                </a:cubicBezTo>
                <a:cubicBezTo>
                  <a:pt x="2278260" y="1197841"/>
                  <a:pt x="2278429" y="1197846"/>
                  <a:pt x="2278598" y="1197851"/>
                </a:cubicBezTo>
                <a:lnTo>
                  <a:pt x="2279138" y="1204541"/>
                </a:lnTo>
                <a:cubicBezTo>
                  <a:pt x="2284195" y="1234785"/>
                  <a:pt x="2286644" y="1265670"/>
                  <a:pt x="2286602" y="1296998"/>
                </a:cubicBezTo>
                <a:cubicBezTo>
                  <a:pt x="2287914" y="1302628"/>
                  <a:pt x="2287973" y="1308297"/>
                  <a:pt x="2287973" y="1313979"/>
                </a:cubicBezTo>
                <a:cubicBezTo>
                  <a:pt x="2287973" y="1317801"/>
                  <a:pt x="2287946" y="1321617"/>
                  <a:pt x="2287380" y="1325419"/>
                </a:cubicBezTo>
                <a:lnTo>
                  <a:pt x="2286881" y="1325386"/>
                </a:lnTo>
                <a:lnTo>
                  <a:pt x="2286855" y="1325881"/>
                </a:lnTo>
                <a:lnTo>
                  <a:pt x="2269736" y="1324255"/>
                </a:lnTo>
                <a:cubicBezTo>
                  <a:pt x="2237362" y="1323728"/>
                  <a:pt x="2205482" y="1320747"/>
                  <a:pt x="2174310" y="1315193"/>
                </a:cubicBezTo>
                <a:cubicBezTo>
                  <a:pt x="2168733" y="1315612"/>
                  <a:pt x="2163404" y="1314664"/>
                  <a:pt x="2158093" y="1313653"/>
                </a:cubicBezTo>
                <a:lnTo>
                  <a:pt x="2157977" y="1312505"/>
                </a:lnTo>
                <a:cubicBezTo>
                  <a:pt x="1799126" y="1253106"/>
                  <a:pt x="1518087" y="972329"/>
                  <a:pt x="1467811" y="619464"/>
                </a:cubicBezTo>
                <a:cubicBezTo>
                  <a:pt x="1467644" y="619411"/>
                  <a:pt x="1467475" y="619406"/>
                  <a:pt x="1467306" y="619401"/>
                </a:cubicBezTo>
                <a:lnTo>
                  <a:pt x="1466767" y="612725"/>
                </a:lnTo>
                <a:cubicBezTo>
                  <a:pt x="1461709" y="582475"/>
                  <a:pt x="1459258" y="551584"/>
                  <a:pt x="1459300" y="520249"/>
                </a:cubicBezTo>
                <a:cubicBezTo>
                  <a:pt x="1457988" y="514621"/>
                  <a:pt x="1457930" y="508954"/>
                  <a:pt x="1457930" y="503273"/>
                </a:cubicBezTo>
                <a:close/>
                <a:moveTo>
                  <a:pt x="1457930" y="2200098"/>
                </a:moveTo>
                <a:lnTo>
                  <a:pt x="1458524" y="2188658"/>
                </a:lnTo>
                <a:lnTo>
                  <a:pt x="1459022" y="2188691"/>
                </a:lnTo>
                <a:lnTo>
                  <a:pt x="1459048" y="2188197"/>
                </a:lnTo>
                <a:lnTo>
                  <a:pt x="1476135" y="2189820"/>
                </a:lnTo>
                <a:cubicBezTo>
                  <a:pt x="1508521" y="2190347"/>
                  <a:pt x="1540413" y="2193328"/>
                  <a:pt x="1571597" y="2198885"/>
                </a:cubicBezTo>
                <a:cubicBezTo>
                  <a:pt x="1577173" y="2198466"/>
                  <a:pt x="1582501" y="2199414"/>
                  <a:pt x="1587809" y="2200424"/>
                </a:cubicBezTo>
                <a:lnTo>
                  <a:pt x="1587926" y="2201572"/>
                </a:lnTo>
                <a:cubicBezTo>
                  <a:pt x="1946777" y="2260970"/>
                  <a:pt x="2227816" y="2541747"/>
                  <a:pt x="2278092" y="2894613"/>
                </a:cubicBezTo>
                <a:cubicBezTo>
                  <a:pt x="2278260" y="2894666"/>
                  <a:pt x="2278429" y="2894671"/>
                  <a:pt x="2278598" y="2894676"/>
                </a:cubicBezTo>
                <a:lnTo>
                  <a:pt x="2279138" y="2901366"/>
                </a:lnTo>
                <a:cubicBezTo>
                  <a:pt x="2284195" y="2931610"/>
                  <a:pt x="2286644" y="2962495"/>
                  <a:pt x="2286602" y="2993823"/>
                </a:cubicBezTo>
                <a:cubicBezTo>
                  <a:pt x="2287914" y="2999453"/>
                  <a:pt x="2287973" y="3005122"/>
                  <a:pt x="2287973" y="3010804"/>
                </a:cubicBezTo>
                <a:cubicBezTo>
                  <a:pt x="2287973" y="3014626"/>
                  <a:pt x="2287946" y="3018442"/>
                  <a:pt x="2287380" y="3022244"/>
                </a:cubicBezTo>
                <a:lnTo>
                  <a:pt x="2286881" y="3022211"/>
                </a:lnTo>
                <a:lnTo>
                  <a:pt x="2286855" y="3022706"/>
                </a:lnTo>
                <a:lnTo>
                  <a:pt x="2269736" y="3021080"/>
                </a:lnTo>
                <a:cubicBezTo>
                  <a:pt x="2237362" y="3020553"/>
                  <a:pt x="2205482" y="3017572"/>
                  <a:pt x="2174310" y="3012018"/>
                </a:cubicBezTo>
                <a:cubicBezTo>
                  <a:pt x="2168733" y="3012437"/>
                  <a:pt x="2163404" y="3011489"/>
                  <a:pt x="2158093" y="3010478"/>
                </a:cubicBezTo>
                <a:lnTo>
                  <a:pt x="2157977" y="3009330"/>
                </a:lnTo>
                <a:cubicBezTo>
                  <a:pt x="1799126" y="2949931"/>
                  <a:pt x="1518087" y="2669154"/>
                  <a:pt x="1467811" y="2316289"/>
                </a:cubicBezTo>
                <a:cubicBezTo>
                  <a:pt x="1467644" y="2316236"/>
                  <a:pt x="1467475" y="2316231"/>
                  <a:pt x="1467306" y="2316226"/>
                </a:cubicBezTo>
                <a:lnTo>
                  <a:pt x="1466767" y="2309550"/>
                </a:lnTo>
                <a:cubicBezTo>
                  <a:pt x="1461709" y="2279300"/>
                  <a:pt x="1459258" y="2248409"/>
                  <a:pt x="1459300" y="2217074"/>
                </a:cubicBezTo>
                <a:cubicBezTo>
                  <a:pt x="1457988" y="2211446"/>
                  <a:pt x="1457930" y="2205779"/>
                  <a:pt x="1457930" y="2200098"/>
                </a:cubicBezTo>
                <a:close/>
                <a:moveTo>
                  <a:pt x="1457930" y="3896923"/>
                </a:moveTo>
                <a:lnTo>
                  <a:pt x="1458524" y="3885483"/>
                </a:lnTo>
                <a:lnTo>
                  <a:pt x="1459022" y="3885516"/>
                </a:lnTo>
                <a:lnTo>
                  <a:pt x="1459048" y="3885022"/>
                </a:lnTo>
                <a:lnTo>
                  <a:pt x="1476135" y="3886645"/>
                </a:lnTo>
                <a:cubicBezTo>
                  <a:pt x="1508521" y="3887172"/>
                  <a:pt x="1540413" y="3890153"/>
                  <a:pt x="1571597" y="3895710"/>
                </a:cubicBezTo>
                <a:cubicBezTo>
                  <a:pt x="1577173" y="3895291"/>
                  <a:pt x="1582501" y="3896239"/>
                  <a:pt x="1587809" y="3897249"/>
                </a:cubicBezTo>
                <a:lnTo>
                  <a:pt x="1587926" y="3898397"/>
                </a:lnTo>
                <a:cubicBezTo>
                  <a:pt x="1821986" y="3937139"/>
                  <a:pt x="2022942" y="4070062"/>
                  <a:pt x="2148179" y="4255797"/>
                </a:cubicBezTo>
                <a:lnTo>
                  <a:pt x="2176624" y="4305008"/>
                </a:lnTo>
                <a:lnTo>
                  <a:pt x="2025574" y="4305008"/>
                </a:lnTo>
                <a:lnTo>
                  <a:pt x="1973451" y="4241205"/>
                </a:lnTo>
                <a:cubicBezTo>
                  <a:pt x="1876755" y="4136681"/>
                  <a:pt x="1747549" y="4061285"/>
                  <a:pt x="1601297" y="4029853"/>
                </a:cubicBezTo>
                <a:cubicBezTo>
                  <a:pt x="1618544" y="4117553"/>
                  <a:pt x="1652724" y="4199373"/>
                  <a:pt x="1700478" y="4271827"/>
                </a:cubicBezTo>
                <a:lnTo>
                  <a:pt x="1727160" y="4305008"/>
                </a:lnTo>
                <a:lnTo>
                  <a:pt x="1573050" y="4305008"/>
                </a:lnTo>
                <a:lnTo>
                  <a:pt x="1542929" y="4254710"/>
                </a:lnTo>
                <a:cubicBezTo>
                  <a:pt x="1505726" y="4179889"/>
                  <a:pt x="1479994" y="4098618"/>
                  <a:pt x="1467811" y="4013114"/>
                </a:cubicBezTo>
                <a:cubicBezTo>
                  <a:pt x="1467644" y="4013061"/>
                  <a:pt x="1467475" y="4013056"/>
                  <a:pt x="1467306" y="4013051"/>
                </a:cubicBezTo>
                <a:lnTo>
                  <a:pt x="1466767" y="4006375"/>
                </a:lnTo>
                <a:cubicBezTo>
                  <a:pt x="1461709" y="3976125"/>
                  <a:pt x="1459258" y="3945234"/>
                  <a:pt x="1459300" y="3913899"/>
                </a:cubicBezTo>
                <a:cubicBezTo>
                  <a:pt x="1457988" y="3908271"/>
                  <a:pt x="1457930" y="3902604"/>
                  <a:pt x="1457930" y="3896923"/>
                </a:cubicBezTo>
                <a:close/>
                <a:moveTo>
                  <a:pt x="1457928" y="469318"/>
                </a:moveTo>
                <a:cubicBezTo>
                  <a:pt x="1457928" y="463681"/>
                  <a:pt x="1457986" y="458057"/>
                  <a:pt x="1459298" y="452471"/>
                </a:cubicBezTo>
                <a:cubicBezTo>
                  <a:pt x="1459256" y="421389"/>
                  <a:pt x="1461706" y="390746"/>
                  <a:pt x="1466762" y="360740"/>
                </a:cubicBezTo>
                <a:lnTo>
                  <a:pt x="1467303" y="354103"/>
                </a:lnTo>
                <a:cubicBezTo>
                  <a:pt x="1467471" y="354098"/>
                  <a:pt x="1467641" y="354093"/>
                  <a:pt x="1467808" y="354040"/>
                </a:cubicBezTo>
                <a:cubicBezTo>
                  <a:pt x="1480960" y="262463"/>
                  <a:pt x="1509901" y="175780"/>
                  <a:pt x="1552022" y="96778"/>
                </a:cubicBezTo>
                <a:lnTo>
                  <a:pt x="1614656" y="0"/>
                </a:lnTo>
                <a:lnTo>
                  <a:pt x="1783031" y="0"/>
                </a:lnTo>
                <a:lnTo>
                  <a:pt x="1714803" y="76659"/>
                </a:lnTo>
                <a:cubicBezTo>
                  <a:pt x="1659536" y="153496"/>
                  <a:pt x="1620221" y="241952"/>
                  <a:pt x="1601295" y="337433"/>
                </a:cubicBezTo>
                <a:cubicBezTo>
                  <a:pt x="1784335" y="298404"/>
                  <a:pt x="1940676" y="191052"/>
                  <a:pt x="2040269" y="44350"/>
                </a:cubicBezTo>
                <a:lnTo>
                  <a:pt x="2062497" y="0"/>
                </a:lnTo>
                <a:lnTo>
                  <a:pt x="2211135" y="0"/>
                </a:lnTo>
                <a:lnTo>
                  <a:pt x="2159296" y="95636"/>
                </a:lnTo>
                <a:cubicBezTo>
                  <a:pt x="2035522" y="289169"/>
                  <a:pt x="1829330" y="428211"/>
                  <a:pt x="1587923" y="467856"/>
                </a:cubicBezTo>
                <a:lnTo>
                  <a:pt x="1587807" y="468995"/>
                </a:lnTo>
                <a:cubicBezTo>
                  <a:pt x="1582497" y="469998"/>
                  <a:pt x="1577168" y="470939"/>
                  <a:pt x="1571591" y="470523"/>
                </a:cubicBezTo>
                <a:cubicBezTo>
                  <a:pt x="1540419" y="476033"/>
                  <a:pt x="1508538" y="478991"/>
                  <a:pt x="1476164" y="479514"/>
                </a:cubicBezTo>
                <a:lnTo>
                  <a:pt x="1459046" y="481127"/>
                </a:lnTo>
                <a:lnTo>
                  <a:pt x="1459020" y="480636"/>
                </a:lnTo>
                <a:lnTo>
                  <a:pt x="1458521" y="480669"/>
                </a:lnTo>
                <a:cubicBezTo>
                  <a:pt x="1457955" y="476896"/>
                  <a:pt x="1457928" y="473110"/>
                  <a:pt x="1457928" y="469318"/>
                </a:cubicBezTo>
                <a:close/>
                <a:moveTo>
                  <a:pt x="1457928" y="2166144"/>
                </a:moveTo>
                <a:cubicBezTo>
                  <a:pt x="1457928" y="2160506"/>
                  <a:pt x="1457986" y="2154882"/>
                  <a:pt x="1459298" y="2149296"/>
                </a:cubicBezTo>
                <a:cubicBezTo>
                  <a:pt x="1459256" y="2118214"/>
                  <a:pt x="1461706" y="2087572"/>
                  <a:pt x="1466762" y="2057565"/>
                </a:cubicBezTo>
                <a:lnTo>
                  <a:pt x="1467303" y="2050928"/>
                </a:lnTo>
                <a:cubicBezTo>
                  <a:pt x="1467471" y="2050923"/>
                  <a:pt x="1467641" y="2050918"/>
                  <a:pt x="1467808" y="2050865"/>
                </a:cubicBezTo>
                <a:cubicBezTo>
                  <a:pt x="1518085" y="1700770"/>
                  <a:pt x="1799124" y="1422199"/>
                  <a:pt x="2157974" y="1363267"/>
                </a:cubicBezTo>
                <a:lnTo>
                  <a:pt x="2158091" y="1362128"/>
                </a:lnTo>
                <a:cubicBezTo>
                  <a:pt x="2163400" y="1361126"/>
                  <a:pt x="2168728" y="1360185"/>
                  <a:pt x="2174304" y="1360601"/>
                </a:cubicBezTo>
                <a:cubicBezTo>
                  <a:pt x="2205487" y="1355088"/>
                  <a:pt x="2237380" y="1352130"/>
                  <a:pt x="2269765" y="1351607"/>
                </a:cubicBezTo>
                <a:lnTo>
                  <a:pt x="2286853" y="1349997"/>
                </a:lnTo>
                <a:lnTo>
                  <a:pt x="2286879" y="1350487"/>
                </a:lnTo>
                <a:lnTo>
                  <a:pt x="2287377" y="1350455"/>
                </a:lnTo>
                <a:lnTo>
                  <a:pt x="2287971" y="1361805"/>
                </a:lnTo>
                <a:cubicBezTo>
                  <a:pt x="2287971" y="1367441"/>
                  <a:pt x="2287912" y="1373063"/>
                  <a:pt x="2286600" y="1378647"/>
                </a:cubicBezTo>
                <a:cubicBezTo>
                  <a:pt x="2286642" y="1409736"/>
                  <a:pt x="2284192" y="1440385"/>
                  <a:pt x="2279133" y="1470397"/>
                </a:cubicBezTo>
                <a:lnTo>
                  <a:pt x="2278595" y="1477021"/>
                </a:lnTo>
                <a:cubicBezTo>
                  <a:pt x="2278425" y="1477026"/>
                  <a:pt x="2278257" y="1477030"/>
                  <a:pt x="2278089" y="1477083"/>
                </a:cubicBezTo>
                <a:cubicBezTo>
                  <a:pt x="2227814" y="1827177"/>
                  <a:pt x="1946775" y="2105749"/>
                  <a:pt x="1587923" y="2164681"/>
                </a:cubicBezTo>
                <a:lnTo>
                  <a:pt x="1587807" y="2165820"/>
                </a:lnTo>
                <a:cubicBezTo>
                  <a:pt x="1582497" y="2166823"/>
                  <a:pt x="1577168" y="2167764"/>
                  <a:pt x="1571591" y="2167348"/>
                </a:cubicBezTo>
                <a:cubicBezTo>
                  <a:pt x="1540419" y="2172858"/>
                  <a:pt x="1508538" y="2175816"/>
                  <a:pt x="1476164" y="2176339"/>
                </a:cubicBezTo>
                <a:lnTo>
                  <a:pt x="1459046" y="2177952"/>
                </a:lnTo>
                <a:lnTo>
                  <a:pt x="1459020" y="2177461"/>
                </a:lnTo>
                <a:lnTo>
                  <a:pt x="1458521" y="2177494"/>
                </a:lnTo>
                <a:cubicBezTo>
                  <a:pt x="1457955" y="2173722"/>
                  <a:pt x="1457928" y="2169936"/>
                  <a:pt x="1457928" y="2166144"/>
                </a:cubicBezTo>
                <a:close/>
                <a:moveTo>
                  <a:pt x="1457928" y="3862969"/>
                </a:moveTo>
                <a:cubicBezTo>
                  <a:pt x="1457928" y="3857331"/>
                  <a:pt x="1457986" y="3851707"/>
                  <a:pt x="1459298" y="3846121"/>
                </a:cubicBezTo>
                <a:cubicBezTo>
                  <a:pt x="1459256" y="3815039"/>
                  <a:pt x="1461706" y="3784397"/>
                  <a:pt x="1466762" y="3754390"/>
                </a:cubicBezTo>
                <a:lnTo>
                  <a:pt x="1467303" y="3747753"/>
                </a:lnTo>
                <a:cubicBezTo>
                  <a:pt x="1467471" y="3747748"/>
                  <a:pt x="1467641" y="3747743"/>
                  <a:pt x="1467808" y="3747690"/>
                </a:cubicBezTo>
                <a:cubicBezTo>
                  <a:pt x="1518085" y="3397595"/>
                  <a:pt x="1799124" y="3119024"/>
                  <a:pt x="2157974" y="3060092"/>
                </a:cubicBezTo>
                <a:lnTo>
                  <a:pt x="2158091" y="3058953"/>
                </a:lnTo>
                <a:cubicBezTo>
                  <a:pt x="2163400" y="3057951"/>
                  <a:pt x="2168728" y="3057010"/>
                  <a:pt x="2174304" y="3057426"/>
                </a:cubicBezTo>
                <a:cubicBezTo>
                  <a:pt x="2205487" y="3051913"/>
                  <a:pt x="2237380" y="3048955"/>
                  <a:pt x="2269765" y="3048432"/>
                </a:cubicBezTo>
                <a:lnTo>
                  <a:pt x="2286853" y="3046822"/>
                </a:lnTo>
                <a:lnTo>
                  <a:pt x="2286879" y="3047312"/>
                </a:lnTo>
                <a:lnTo>
                  <a:pt x="2287377" y="3047280"/>
                </a:lnTo>
                <a:lnTo>
                  <a:pt x="2287971" y="3058630"/>
                </a:lnTo>
                <a:cubicBezTo>
                  <a:pt x="2287971" y="3064266"/>
                  <a:pt x="2287912" y="3069889"/>
                  <a:pt x="2286600" y="3075472"/>
                </a:cubicBezTo>
                <a:cubicBezTo>
                  <a:pt x="2286642" y="3106561"/>
                  <a:pt x="2284192" y="3137210"/>
                  <a:pt x="2279133" y="3167222"/>
                </a:cubicBezTo>
                <a:lnTo>
                  <a:pt x="2278595" y="3173846"/>
                </a:lnTo>
                <a:cubicBezTo>
                  <a:pt x="2278425" y="3173851"/>
                  <a:pt x="2278257" y="3173856"/>
                  <a:pt x="2278089" y="3173908"/>
                </a:cubicBezTo>
                <a:cubicBezTo>
                  <a:pt x="2227814" y="3524002"/>
                  <a:pt x="1946775" y="3802574"/>
                  <a:pt x="1587923" y="3861506"/>
                </a:cubicBezTo>
                <a:lnTo>
                  <a:pt x="1587807" y="3862645"/>
                </a:lnTo>
                <a:cubicBezTo>
                  <a:pt x="1582497" y="3863648"/>
                  <a:pt x="1577168" y="3864589"/>
                  <a:pt x="1571591" y="3864173"/>
                </a:cubicBezTo>
                <a:cubicBezTo>
                  <a:pt x="1540419" y="3869683"/>
                  <a:pt x="1508538" y="3872641"/>
                  <a:pt x="1476164" y="3873164"/>
                </a:cubicBezTo>
                <a:lnTo>
                  <a:pt x="1459046" y="3874777"/>
                </a:lnTo>
                <a:lnTo>
                  <a:pt x="1459020" y="3874286"/>
                </a:lnTo>
                <a:lnTo>
                  <a:pt x="1458521" y="3874319"/>
                </a:lnTo>
                <a:cubicBezTo>
                  <a:pt x="1457955" y="3870547"/>
                  <a:pt x="1457928" y="3866761"/>
                  <a:pt x="1457928" y="3862969"/>
                </a:cubicBezTo>
                <a:close/>
                <a:moveTo>
                  <a:pt x="750739" y="1181049"/>
                </a:moveTo>
                <a:cubicBezTo>
                  <a:pt x="1025929" y="1121906"/>
                  <a:pt x="1240772" y="907109"/>
                  <a:pt x="1294048" y="636203"/>
                </a:cubicBezTo>
                <a:cubicBezTo>
                  <a:pt x="1018858" y="695346"/>
                  <a:pt x="804014" y="910143"/>
                  <a:pt x="750739" y="1181049"/>
                </a:cubicBezTo>
                <a:close/>
                <a:moveTo>
                  <a:pt x="750739" y="1493690"/>
                </a:moveTo>
                <a:cubicBezTo>
                  <a:pt x="804015" y="1762469"/>
                  <a:pt x="1018858" y="1975579"/>
                  <a:pt x="1294048" y="2034258"/>
                </a:cubicBezTo>
                <a:cubicBezTo>
                  <a:pt x="1240773" y="1765479"/>
                  <a:pt x="1025929" y="1552369"/>
                  <a:pt x="750739" y="1493690"/>
                </a:cubicBezTo>
                <a:close/>
                <a:moveTo>
                  <a:pt x="750739" y="2877874"/>
                </a:moveTo>
                <a:cubicBezTo>
                  <a:pt x="1025929" y="2818731"/>
                  <a:pt x="1240772" y="2603934"/>
                  <a:pt x="1294048" y="2333028"/>
                </a:cubicBezTo>
                <a:cubicBezTo>
                  <a:pt x="1018858" y="2392171"/>
                  <a:pt x="804014" y="2606968"/>
                  <a:pt x="750739" y="2877874"/>
                </a:cubicBezTo>
                <a:close/>
                <a:moveTo>
                  <a:pt x="750739" y="3190516"/>
                </a:moveTo>
                <a:cubicBezTo>
                  <a:pt x="804015" y="3459294"/>
                  <a:pt x="1018858" y="3672404"/>
                  <a:pt x="1294048" y="3731083"/>
                </a:cubicBezTo>
                <a:cubicBezTo>
                  <a:pt x="1240773" y="3462304"/>
                  <a:pt x="1025929" y="3249194"/>
                  <a:pt x="750739" y="3190516"/>
                </a:cubicBezTo>
                <a:close/>
                <a:moveTo>
                  <a:pt x="718720" y="4305008"/>
                </a:moveTo>
                <a:lnTo>
                  <a:pt x="747165" y="4255797"/>
                </a:lnTo>
                <a:cubicBezTo>
                  <a:pt x="872402" y="4070062"/>
                  <a:pt x="1073359" y="3937139"/>
                  <a:pt x="1307418" y="3898397"/>
                </a:cubicBezTo>
                <a:lnTo>
                  <a:pt x="1307535" y="3897249"/>
                </a:lnTo>
                <a:cubicBezTo>
                  <a:pt x="1312844" y="3896239"/>
                  <a:pt x="1318172" y="3895291"/>
                  <a:pt x="1323748" y="3895710"/>
                </a:cubicBezTo>
                <a:cubicBezTo>
                  <a:pt x="1354931" y="3890153"/>
                  <a:pt x="1386824" y="3887172"/>
                  <a:pt x="1419209" y="3886645"/>
                </a:cubicBezTo>
                <a:lnTo>
                  <a:pt x="1436297" y="3885022"/>
                </a:lnTo>
                <a:lnTo>
                  <a:pt x="1436323" y="3885516"/>
                </a:lnTo>
                <a:lnTo>
                  <a:pt x="1436821" y="3885483"/>
                </a:lnTo>
                <a:lnTo>
                  <a:pt x="1437415" y="3896923"/>
                </a:lnTo>
                <a:cubicBezTo>
                  <a:pt x="1437415" y="3902604"/>
                  <a:pt x="1437356" y="3908271"/>
                  <a:pt x="1436044" y="3913899"/>
                </a:cubicBezTo>
                <a:cubicBezTo>
                  <a:pt x="1436086" y="3945234"/>
                  <a:pt x="1433636" y="3976125"/>
                  <a:pt x="1428577" y="4006375"/>
                </a:cubicBezTo>
                <a:lnTo>
                  <a:pt x="1428039" y="4013051"/>
                </a:lnTo>
                <a:cubicBezTo>
                  <a:pt x="1427869" y="4013056"/>
                  <a:pt x="1427701" y="4013061"/>
                  <a:pt x="1427533" y="4013114"/>
                </a:cubicBezTo>
                <a:cubicBezTo>
                  <a:pt x="1415351" y="4098618"/>
                  <a:pt x="1389619" y="4179889"/>
                  <a:pt x="1352416" y="4254710"/>
                </a:cubicBezTo>
                <a:lnTo>
                  <a:pt x="1322295" y="4305008"/>
                </a:lnTo>
                <a:lnTo>
                  <a:pt x="1168185" y="4305008"/>
                </a:lnTo>
                <a:lnTo>
                  <a:pt x="1194867" y="4271827"/>
                </a:lnTo>
                <a:cubicBezTo>
                  <a:pt x="1242622" y="4199373"/>
                  <a:pt x="1276801" y="4117553"/>
                  <a:pt x="1294048" y="4029853"/>
                </a:cubicBezTo>
                <a:cubicBezTo>
                  <a:pt x="1147796" y="4061285"/>
                  <a:pt x="1018589" y="4136681"/>
                  <a:pt x="921894" y="4241205"/>
                </a:cubicBezTo>
                <a:lnTo>
                  <a:pt x="869771" y="4305008"/>
                </a:lnTo>
                <a:close/>
                <a:moveTo>
                  <a:pt x="684209" y="0"/>
                </a:moveTo>
                <a:lnTo>
                  <a:pt x="832847" y="0"/>
                </a:lnTo>
                <a:lnTo>
                  <a:pt x="855075" y="44350"/>
                </a:lnTo>
                <a:cubicBezTo>
                  <a:pt x="954668" y="191053"/>
                  <a:pt x="1111009" y="298404"/>
                  <a:pt x="1294048" y="337433"/>
                </a:cubicBezTo>
                <a:cubicBezTo>
                  <a:pt x="1275123" y="241952"/>
                  <a:pt x="1235808" y="153496"/>
                  <a:pt x="1180541" y="76659"/>
                </a:cubicBezTo>
                <a:lnTo>
                  <a:pt x="1112313" y="0"/>
                </a:lnTo>
                <a:lnTo>
                  <a:pt x="1280688" y="0"/>
                </a:lnTo>
                <a:lnTo>
                  <a:pt x="1343322" y="96778"/>
                </a:lnTo>
                <a:cubicBezTo>
                  <a:pt x="1385443" y="175780"/>
                  <a:pt x="1414383" y="262463"/>
                  <a:pt x="1427534" y="354040"/>
                </a:cubicBezTo>
                <a:cubicBezTo>
                  <a:pt x="1427702" y="354093"/>
                  <a:pt x="1427871" y="354098"/>
                  <a:pt x="1428040" y="354102"/>
                </a:cubicBezTo>
                <a:lnTo>
                  <a:pt x="1428580" y="360740"/>
                </a:lnTo>
                <a:cubicBezTo>
                  <a:pt x="1433637" y="390746"/>
                  <a:pt x="1436086" y="421389"/>
                  <a:pt x="1436044" y="452471"/>
                </a:cubicBezTo>
                <a:cubicBezTo>
                  <a:pt x="1437356" y="458057"/>
                  <a:pt x="1437415" y="463681"/>
                  <a:pt x="1437415" y="469318"/>
                </a:cubicBezTo>
                <a:cubicBezTo>
                  <a:pt x="1437415" y="473111"/>
                  <a:pt x="1437388" y="476896"/>
                  <a:pt x="1436822" y="480669"/>
                </a:cubicBezTo>
                <a:lnTo>
                  <a:pt x="1436323" y="480636"/>
                </a:lnTo>
                <a:lnTo>
                  <a:pt x="1436297" y="481127"/>
                </a:lnTo>
                <a:lnTo>
                  <a:pt x="1419178" y="479514"/>
                </a:lnTo>
                <a:cubicBezTo>
                  <a:pt x="1386804" y="478991"/>
                  <a:pt x="1354924" y="476033"/>
                  <a:pt x="1323752" y="470523"/>
                </a:cubicBezTo>
                <a:cubicBezTo>
                  <a:pt x="1318175" y="470939"/>
                  <a:pt x="1312846" y="469998"/>
                  <a:pt x="1307535" y="468995"/>
                </a:cubicBezTo>
                <a:lnTo>
                  <a:pt x="1307419" y="467856"/>
                </a:lnTo>
                <a:cubicBezTo>
                  <a:pt x="1066014" y="428211"/>
                  <a:pt x="859822" y="289169"/>
                  <a:pt x="736048" y="95636"/>
                </a:cubicBezTo>
                <a:close/>
                <a:moveTo>
                  <a:pt x="607372" y="1313979"/>
                </a:moveTo>
                <a:cubicBezTo>
                  <a:pt x="607372" y="1308297"/>
                  <a:pt x="607430" y="1302628"/>
                  <a:pt x="608742" y="1296998"/>
                </a:cubicBezTo>
                <a:cubicBezTo>
                  <a:pt x="608700" y="1265670"/>
                  <a:pt x="611150" y="1234785"/>
                  <a:pt x="616206" y="1204541"/>
                </a:cubicBezTo>
                <a:lnTo>
                  <a:pt x="616747" y="1197851"/>
                </a:lnTo>
                <a:cubicBezTo>
                  <a:pt x="616915" y="1197846"/>
                  <a:pt x="617085" y="1197841"/>
                  <a:pt x="617252" y="1197788"/>
                </a:cubicBezTo>
                <a:cubicBezTo>
                  <a:pt x="667529" y="844922"/>
                  <a:pt x="948568" y="564145"/>
                  <a:pt x="1307418" y="504747"/>
                </a:cubicBezTo>
                <a:lnTo>
                  <a:pt x="1307535" y="503599"/>
                </a:lnTo>
                <a:cubicBezTo>
                  <a:pt x="1312844" y="502589"/>
                  <a:pt x="1318172" y="501641"/>
                  <a:pt x="1323748" y="502060"/>
                </a:cubicBezTo>
                <a:cubicBezTo>
                  <a:pt x="1354931" y="496503"/>
                  <a:pt x="1386824" y="493522"/>
                  <a:pt x="1419209" y="492995"/>
                </a:cubicBezTo>
                <a:lnTo>
                  <a:pt x="1436297" y="491372"/>
                </a:lnTo>
                <a:lnTo>
                  <a:pt x="1436323" y="491866"/>
                </a:lnTo>
                <a:lnTo>
                  <a:pt x="1436821" y="491833"/>
                </a:lnTo>
                <a:lnTo>
                  <a:pt x="1437415" y="503273"/>
                </a:lnTo>
                <a:cubicBezTo>
                  <a:pt x="1437415" y="508954"/>
                  <a:pt x="1437356" y="514621"/>
                  <a:pt x="1436044" y="520249"/>
                </a:cubicBezTo>
                <a:cubicBezTo>
                  <a:pt x="1436086" y="551584"/>
                  <a:pt x="1433636" y="582475"/>
                  <a:pt x="1428577" y="612725"/>
                </a:cubicBezTo>
                <a:lnTo>
                  <a:pt x="1428039" y="619401"/>
                </a:lnTo>
                <a:cubicBezTo>
                  <a:pt x="1427869" y="619406"/>
                  <a:pt x="1427701" y="619411"/>
                  <a:pt x="1427533" y="619464"/>
                </a:cubicBezTo>
                <a:cubicBezTo>
                  <a:pt x="1377258" y="972329"/>
                  <a:pt x="1096219" y="1253106"/>
                  <a:pt x="737367" y="1312505"/>
                </a:cubicBezTo>
                <a:lnTo>
                  <a:pt x="737251" y="1313653"/>
                </a:lnTo>
                <a:cubicBezTo>
                  <a:pt x="731941" y="1314664"/>
                  <a:pt x="726612" y="1315612"/>
                  <a:pt x="721035" y="1315193"/>
                </a:cubicBezTo>
                <a:cubicBezTo>
                  <a:pt x="689863" y="1320747"/>
                  <a:pt x="657982" y="1323728"/>
                  <a:pt x="625608" y="1324255"/>
                </a:cubicBezTo>
                <a:lnTo>
                  <a:pt x="608490" y="1325881"/>
                </a:lnTo>
                <a:lnTo>
                  <a:pt x="608464" y="1325386"/>
                </a:lnTo>
                <a:lnTo>
                  <a:pt x="607965" y="1325419"/>
                </a:lnTo>
                <a:cubicBezTo>
                  <a:pt x="607399" y="1321617"/>
                  <a:pt x="607372" y="1317801"/>
                  <a:pt x="607372" y="1313979"/>
                </a:cubicBezTo>
                <a:close/>
                <a:moveTo>
                  <a:pt x="607372" y="1361805"/>
                </a:moveTo>
                <a:lnTo>
                  <a:pt x="607966" y="1350455"/>
                </a:lnTo>
                <a:lnTo>
                  <a:pt x="608464" y="1350487"/>
                </a:lnTo>
                <a:lnTo>
                  <a:pt x="608490" y="1349997"/>
                </a:lnTo>
                <a:lnTo>
                  <a:pt x="625577" y="1351607"/>
                </a:lnTo>
                <a:cubicBezTo>
                  <a:pt x="657963" y="1352130"/>
                  <a:pt x="689855" y="1355088"/>
                  <a:pt x="721039" y="1360601"/>
                </a:cubicBezTo>
                <a:cubicBezTo>
                  <a:pt x="726615" y="1360185"/>
                  <a:pt x="731943" y="1361126"/>
                  <a:pt x="737251" y="1362128"/>
                </a:cubicBezTo>
                <a:lnTo>
                  <a:pt x="737368" y="1363267"/>
                </a:lnTo>
                <a:cubicBezTo>
                  <a:pt x="1096219" y="1422199"/>
                  <a:pt x="1377258" y="1700770"/>
                  <a:pt x="1427534" y="2050865"/>
                </a:cubicBezTo>
                <a:cubicBezTo>
                  <a:pt x="1427702" y="2050918"/>
                  <a:pt x="1427871" y="2050923"/>
                  <a:pt x="1428040" y="2050928"/>
                </a:cubicBezTo>
                <a:lnTo>
                  <a:pt x="1428580" y="2057565"/>
                </a:lnTo>
                <a:cubicBezTo>
                  <a:pt x="1433637" y="2087572"/>
                  <a:pt x="1436086" y="2118214"/>
                  <a:pt x="1436044" y="2149296"/>
                </a:cubicBezTo>
                <a:cubicBezTo>
                  <a:pt x="1437356" y="2154882"/>
                  <a:pt x="1437415" y="2160506"/>
                  <a:pt x="1437415" y="2166144"/>
                </a:cubicBezTo>
                <a:cubicBezTo>
                  <a:pt x="1437415" y="2169936"/>
                  <a:pt x="1437388" y="2173722"/>
                  <a:pt x="1436822" y="2177494"/>
                </a:cubicBezTo>
                <a:lnTo>
                  <a:pt x="1436323" y="2177461"/>
                </a:lnTo>
                <a:lnTo>
                  <a:pt x="1436297" y="2177952"/>
                </a:lnTo>
                <a:lnTo>
                  <a:pt x="1419178" y="2176339"/>
                </a:lnTo>
                <a:cubicBezTo>
                  <a:pt x="1386804" y="2175816"/>
                  <a:pt x="1354924" y="2172858"/>
                  <a:pt x="1323752" y="2167348"/>
                </a:cubicBezTo>
                <a:cubicBezTo>
                  <a:pt x="1318175" y="2167764"/>
                  <a:pt x="1312846" y="2166823"/>
                  <a:pt x="1307535" y="2165820"/>
                </a:cubicBezTo>
                <a:lnTo>
                  <a:pt x="1307419" y="2164681"/>
                </a:lnTo>
                <a:cubicBezTo>
                  <a:pt x="948568" y="2105749"/>
                  <a:pt x="667529" y="1827177"/>
                  <a:pt x="617253" y="1477083"/>
                </a:cubicBezTo>
                <a:cubicBezTo>
                  <a:pt x="617086" y="1477030"/>
                  <a:pt x="616917" y="1477026"/>
                  <a:pt x="616748" y="1477021"/>
                </a:cubicBezTo>
                <a:lnTo>
                  <a:pt x="616209" y="1470397"/>
                </a:lnTo>
                <a:cubicBezTo>
                  <a:pt x="611151" y="1440385"/>
                  <a:pt x="608700" y="1409736"/>
                  <a:pt x="608742" y="1378647"/>
                </a:cubicBezTo>
                <a:cubicBezTo>
                  <a:pt x="607430" y="1373063"/>
                  <a:pt x="607372" y="1367441"/>
                  <a:pt x="607372" y="1361805"/>
                </a:cubicBezTo>
                <a:close/>
                <a:moveTo>
                  <a:pt x="607372" y="3010804"/>
                </a:moveTo>
                <a:cubicBezTo>
                  <a:pt x="607372" y="3005122"/>
                  <a:pt x="607430" y="2999453"/>
                  <a:pt x="608742" y="2993823"/>
                </a:cubicBezTo>
                <a:cubicBezTo>
                  <a:pt x="608700" y="2962495"/>
                  <a:pt x="611150" y="2931610"/>
                  <a:pt x="616206" y="2901366"/>
                </a:cubicBezTo>
                <a:lnTo>
                  <a:pt x="616747" y="2894676"/>
                </a:lnTo>
                <a:cubicBezTo>
                  <a:pt x="616915" y="2894671"/>
                  <a:pt x="617085" y="2894666"/>
                  <a:pt x="617252" y="2894613"/>
                </a:cubicBezTo>
                <a:cubicBezTo>
                  <a:pt x="667529" y="2541747"/>
                  <a:pt x="948568" y="2260970"/>
                  <a:pt x="1307418" y="2201572"/>
                </a:cubicBezTo>
                <a:lnTo>
                  <a:pt x="1307535" y="2200424"/>
                </a:lnTo>
                <a:cubicBezTo>
                  <a:pt x="1312844" y="2199414"/>
                  <a:pt x="1318172" y="2198466"/>
                  <a:pt x="1323748" y="2198885"/>
                </a:cubicBezTo>
                <a:cubicBezTo>
                  <a:pt x="1354931" y="2193328"/>
                  <a:pt x="1386824" y="2190347"/>
                  <a:pt x="1419209" y="2189820"/>
                </a:cubicBezTo>
                <a:lnTo>
                  <a:pt x="1436297" y="2188197"/>
                </a:lnTo>
                <a:lnTo>
                  <a:pt x="1436323" y="2188691"/>
                </a:lnTo>
                <a:lnTo>
                  <a:pt x="1436821" y="2188658"/>
                </a:lnTo>
                <a:lnTo>
                  <a:pt x="1437415" y="2200098"/>
                </a:lnTo>
                <a:cubicBezTo>
                  <a:pt x="1437415" y="2205779"/>
                  <a:pt x="1437356" y="2211446"/>
                  <a:pt x="1436044" y="2217074"/>
                </a:cubicBezTo>
                <a:cubicBezTo>
                  <a:pt x="1436086" y="2248409"/>
                  <a:pt x="1433636" y="2279300"/>
                  <a:pt x="1428577" y="2309550"/>
                </a:cubicBezTo>
                <a:lnTo>
                  <a:pt x="1428039" y="2316226"/>
                </a:lnTo>
                <a:cubicBezTo>
                  <a:pt x="1427869" y="2316231"/>
                  <a:pt x="1427701" y="2316236"/>
                  <a:pt x="1427533" y="2316289"/>
                </a:cubicBezTo>
                <a:cubicBezTo>
                  <a:pt x="1377258" y="2669154"/>
                  <a:pt x="1096219" y="2949931"/>
                  <a:pt x="737367" y="3009330"/>
                </a:cubicBezTo>
                <a:lnTo>
                  <a:pt x="737251" y="3010478"/>
                </a:lnTo>
                <a:cubicBezTo>
                  <a:pt x="731941" y="3011489"/>
                  <a:pt x="726612" y="3012437"/>
                  <a:pt x="721035" y="3012018"/>
                </a:cubicBezTo>
                <a:cubicBezTo>
                  <a:pt x="689863" y="3017572"/>
                  <a:pt x="657982" y="3020553"/>
                  <a:pt x="625608" y="3021080"/>
                </a:cubicBezTo>
                <a:lnTo>
                  <a:pt x="608490" y="3022706"/>
                </a:lnTo>
                <a:lnTo>
                  <a:pt x="608464" y="3022211"/>
                </a:lnTo>
                <a:lnTo>
                  <a:pt x="607965" y="3022244"/>
                </a:lnTo>
                <a:cubicBezTo>
                  <a:pt x="607399" y="3018442"/>
                  <a:pt x="607372" y="3014626"/>
                  <a:pt x="607372" y="3010804"/>
                </a:cubicBezTo>
                <a:close/>
                <a:moveTo>
                  <a:pt x="607372" y="3058630"/>
                </a:moveTo>
                <a:lnTo>
                  <a:pt x="607966" y="3047280"/>
                </a:lnTo>
                <a:lnTo>
                  <a:pt x="608464" y="3047312"/>
                </a:lnTo>
                <a:lnTo>
                  <a:pt x="608490" y="3046822"/>
                </a:lnTo>
                <a:lnTo>
                  <a:pt x="625577" y="3048432"/>
                </a:lnTo>
                <a:cubicBezTo>
                  <a:pt x="657963" y="3048955"/>
                  <a:pt x="689855" y="3051913"/>
                  <a:pt x="721039" y="3057426"/>
                </a:cubicBezTo>
                <a:cubicBezTo>
                  <a:pt x="726615" y="3057010"/>
                  <a:pt x="731943" y="3057951"/>
                  <a:pt x="737251" y="3058953"/>
                </a:cubicBezTo>
                <a:lnTo>
                  <a:pt x="737368" y="3060092"/>
                </a:lnTo>
                <a:cubicBezTo>
                  <a:pt x="1096219" y="3119024"/>
                  <a:pt x="1377258" y="3397595"/>
                  <a:pt x="1427534" y="3747690"/>
                </a:cubicBezTo>
                <a:cubicBezTo>
                  <a:pt x="1427702" y="3747743"/>
                  <a:pt x="1427871" y="3747748"/>
                  <a:pt x="1428040" y="3747753"/>
                </a:cubicBezTo>
                <a:lnTo>
                  <a:pt x="1428580" y="3754390"/>
                </a:lnTo>
                <a:cubicBezTo>
                  <a:pt x="1433637" y="3784397"/>
                  <a:pt x="1436086" y="3815039"/>
                  <a:pt x="1436044" y="3846121"/>
                </a:cubicBezTo>
                <a:cubicBezTo>
                  <a:pt x="1437356" y="3851707"/>
                  <a:pt x="1437415" y="3857331"/>
                  <a:pt x="1437415" y="3862969"/>
                </a:cubicBezTo>
                <a:cubicBezTo>
                  <a:pt x="1437415" y="3866761"/>
                  <a:pt x="1437388" y="3870547"/>
                  <a:pt x="1436822" y="3874319"/>
                </a:cubicBezTo>
                <a:lnTo>
                  <a:pt x="1436323" y="3874286"/>
                </a:lnTo>
                <a:lnTo>
                  <a:pt x="1436297" y="3874777"/>
                </a:lnTo>
                <a:lnTo>
                  <a:pt x="1419178" y="3873164"/>
                </a:lnTo>
                <a:cubicBezTo>
                  <a:pt x="1386804" y="3872641"/>
                  <a:pt x="1354924" y="3869683"/>
                  <a:pt x="1323752" y="3864173"/>
                </a:cubicBezTo>
                <a:cubicBezTo>
                  <a:pt x="1318175" y="3864589"/>
                  <a:pt x="1312846" y="3863648"/>
                  <a:pt x="1307535" y="3862645"/>
                </a:cubicBezTo>
                <a:lnTo>
                  <a:pt x="1307419" y="3861506"/>
                </a:lnTo>
                <a:cubicBezTo>
                  <a:pt x="948568" y="3802574"/>
                  <a:pt x="667529" y="3524002"/>
                  <a:pt x="617253" y="3173908"/>
                </a:cubicBezTo>
                <a:cubicBezTo>
                  <a:pt x="617086" y="3173856"/>
                  <a:pt x="616917" y="3173851"/>
                  <a:pt x="616748" y="3173846"/>
                </a:cubicBezTo>
                <a:lnTo>
                  <a:pt x="616209" y="3167222"/>
                </a:lnTo>
                <a:cubicBezTo>
                  <a:pt x="611151" y="3137210"/>
                  <a:pt x="608700" y="3106561"/>
                  <a:pt x="608742" y="3075472"/>
                </a:cubicBezTo>
                <a:cubicBezTo>
                  <a:pt x="607430" y="3069889"/>
                  <a:pt x="607372" y="3064266"/>
                  <a:pt x="607372" y="3058630"/>
                </a:cubicBezTo>
                <a:close/>
                <a:moveTo>
                  <a:pt x="0" y="116373"/>
                </a:moveTo>
                <a:lnTo>
                  <a:pt x="0" y="0"/>
                </a:lnTo>
                <a:lnTo>
                  <a:pt x="90880" y="0"/>
                </a:lnTo>
                <a:lnTo>
                  <a:pt x="22652" y="76659"/>
                </a:lnTo>
                <a:close/>
                <a:moveTo>
                  <a:pt x="0" y="443121"/>
                </a:moveTo>
                <a:lnTo>
                  <a:pt x="0" y="311637"/>
                </a:lnTo>
                <a:lnTo>
                  <a:pt x="82171" y="276703"/>
                </a:lnTo>
                <a:cubicBezTo>
                  <a:pt x="190106" y="222464"/>
                  <a:pt x="281723" y="142152"/>
                  <a:pt x="348118" y="44350"/>
                </a:cubicBezTo>
                <a:lnTo>
                  <a:pt x="370347" y="0"/>
                </a:lnTo>
                <a:lnTo>
                  <a:pt x="518984" y="0"/>
                </a:lnTo>
                <a:lnTo>
                  <a:pt x="467145" y="95636"/>
                </a:lnTo>
                <a:cubicBezTo>
                  <a:pt x="364000" y="256913"/>
                  <a:pt x="203621" y="380350"/>
                  <a:pt x="13323" y="439959"/>
                </a:cubicBezTo>
                <a:close/>
                <a:moveTo>
                  <a:pt x="0" y="1070142"/>
                </a:moveTo>
                <a:lnTo>
                  <a:pt x="0" y="862064"/>
                </a:lnTo>
                <a:lnTo>
                  <a:pt x="31905" y="912052"/>
                </a:lnTo>
                <a:cubicBezTo>
                  <a:pt x="132041" y="1046318"/>
                  <a:pt x="280461" y="1144085"/>
                  <a:pt x="452455" y="1181049"/>
                </a:cubicBezTo>
                <a:cubicBezTo>
                  <a:pt x="405840" y="944006"/>
                  <a:pt x="235523" y="749922"/>
                  <a:pt x="9316" y="665484"/>
                </a:cubicBezTo>
                <a:lnTo>
                  <a:pt x="0" y="662760"/>
                </a:lnTo>
                <a:lnTo>
                  <a:pt x="0" y="530567"/>
                </a:lnTo>
                <a:lnTo>
                  <a:pt x="26399" y="537107"/>
                </a:lnTo>
                <a:cubicBezTo>
                  <a:pt x="321280" y="635466"/>
                  <a:pt x="541950" y="889030"/>
                  <a:pt x="585941" y="1197788"/>
                </a:cubicBezTo>
                <a:cubicBezTo>
                  <a:pt x="586109" y="1197841"/>
                  <a:pt x="586278" y="1197846"/>
                  <a:pt x="586447" y="1197851"/>
                </a:cubicBezTo>
                <a:lnTo>
                  <a:pt x="586987" y="1204541"/>
                </a:lnTo>
                <a:cubicBezTo>
                  <a:pt x="592044" y="1234785"/>
                  <a:pt x="594493" y="1265670"/>
                  <a:pt x="594451" y="1296998"/>
                </a:cubicBezTo>
                <a:cubicBezTo>
                  <a:pt x="595763" y="1302628"/>
                  <a:pt x="595822" y="1308297"/>
                  <a:pt x="595822" y="1313979"/>
                </a:cubicBezTo>
                <a:cubicBezTo>
                  <a:pt x="595822" y="1317801"/>
                  <a:pt x="595795" y="1321617"/>
                  <a:pt x="595229" y="1325419"/>
                </a:cubicBezTo>
                <a:lnTo>
                  <a:pt x="594730" y="1325386"/>
                </a:lnTo>
                <a:lnTo>
                  <a:pt x="594704" y="1325881"/>
                </a:lnTo>
                <a:lnTo>
                  <a:pt x="577585" y="1324255"/>
                </a:lnTo>
                <a:cubicBezTo>
                  <a:pt x="545211" y="1323728"/>
                  <a:pt x="513331" y="1320747"/>
                  <a:pt x="482159" y="1315193"/>
                </a:cubicBezTo>
                <a:cubicBezTo>
                  <a:pt x="476582" y="1315612"/>
                  <a:pt x="471253" y="1314664"/>
                  <a:pt x="465942" y="1313653"/>
                </a:cubicBezTo>
                <a:lnTo>
                  <a:pt x="465826" y="1312505"/>
                </a:lnTo>
                <a:cubicBezTo>
                  <a:pt x="286401" y="1282806"/>
                  <a:pt x="126428" y="1197762"/>
                  <a:pt x="5028" y="1076034"/>
                </a:cubicBezTo>
                <a:close/>
                <a:moveTo>
                  <a:pt x="0" y="2139063"/>
                </a:moveTo>
                <a:lnTo>
                  <a:pt x="0" y="2007909"/>
                </a:lnTo>
                <a:lnTo>
                  <a:pt x="9314" y="2005207"/>
                </a:lnTo>
                <a:cubicBezTo>
                  <a:pt x="235521" y="1921432"/>
                  <a:pt x="405837" y="1728872"/>
                  <a:pt x="452453" y="1493690"/>
                </a:cubicBezTo>
                <a:cubicBezTo>
                  <a:pt x="280459" y="1530364"/>
                  <a:pt x="132038" y="1627363"/>
                  <a:pt x="31903" y="1760575"/>
                </a:cubicBezTo>
                <a:lnTo>
                  <a:pt x="0" y="1810167"/>
                </a:lnTo>
                <a:lnTo>
                  <a:pt x="0" y="1603724"/>
                </a:lnTo>
                <a:lnTo>
                  <a:pt x="5025" y="1597880"/>
                </a:lnTo>
                <a:cubicBezTo>
                  <a:pt x="126426" y="1477109"/>
                  <a:pt x="286398" y="1392733"/>
                  <a:pt x="465823" y="1363267"/>
                </a:cubicBezTo>
                <a:lnTo>
                  <a:pt x="465940" y="1362128"/>
                </a:lnTo>
                <a:cubicBezTo>
                  <a:pt x="471249" y="1361126"/>
                  <a:pt x="476577" y="1360185"/>
                  <a:pt x="482153" y="1360601"/>
                </a:cubicBezTo>
                <a:cubicBezTo>
                  <a:pt x="513336" y="1355088"/>
                  <a:pt x="545229" y="1352130"/>
                  <a:pt x="577614" y="1351607"/>
                </a:cubicBezTo>
                <a:lnTo>
                  <a:pt x="594702" y="1349997"/>
                </a:lnTo>
                <a:lnTo>
                  <a:pt x="594728" y="1350487"/>
                </a:lnTo>
                <a:lnTo>
                  <a:pt x="595226" y="1350455"/>
                </a:lnTo>
                <a:lnTo>
                  <a:pt x="595820" y="1361805"/>
                </a:lnTo>
                <a:cubicBezTo>
                  <a:pt x="595820" y="1367441"/>
                  <a:pt x="595761" y="1373063"/>
                  <a:pt x="594449" y="1378647"/>
                </a:cubicBezTo>
                <a:cubicBezTo>
                  <a:pt x="594491" y="1409736"/>
                  <a:pt x="592041" y="1440385"/>
                  <a:pt x="586982" y="1470397"/>
                </a:cubicBezTo>
                <a:lnTo>
                  <a:pt x="586444" y="1477021"/>
                </a:lnTo>
                <a:cubicBezTo>
                  <a:pt x="586274" y="1477026"/>
                  <a:pt x="586106" y="1477030"/>
                  <a:pt x="585938" y="1477083"/>
                </a:cubicBezTo>
                <a:cubicBezTo>
                  <a:pt x="541948" y="1783415"/>
                  <a:pt x="321278" y="2034989"/>
                  <a:pt x="26396" y="2132575"/>
                </a:cubicBezTo>
                <a:close/>
                <a:moveTo>
                  <a:pt x="0" y="2766967"/>
                </a:moveTo>
                <a:lnTo>
                  <a:pt x="0" y="2558889"/>
                </a:lnTo>
                <a:lnTo>
                  <a:pt x="31905" y="2608877"/>
                </a:lnTo>
                <a:cubicBezTo>
                  <a:pt x="132041" y="2743143"/>
                  <a:pt x="280461" y="2840910"/>
                  <a:pt x="452455" y="2877874"/>
                </a:cubicBezTo>
                <a:cubicBezTo>
                  <a:pt x="405840" y="2640831"/>
                  <a:pt x="235523" y="2446747"/>
                  <a:pt x="9316" y="2362309"/>
                </a:cubicBezTo>
                <a:lnTo>
                  <a:pt x="0" y="2359585"/>
                </a:lnTo>
                <a:lnTo>
                  <a:pt x="0" y="2227392"/>
                </a:lnTo>
                <a:lnTo>
                  <a:pt x="26399" y="2233932"/>
                </a:lnTo>
                <a:cubicBezTo>
                  <a:pt x="321280" y="2332291"/>
                  <a:pt x="541950" y="2585855"/>
                  <a:pt x="585941" y="2894613"/>
                </a:cubicBezTo>
                <a:cubicBezTo>
                  <a:pt x="586109" y="2894666"/>
                  <a:pt x="586278" y="2894671"/>
                  <a:pt x="586447" y="2894676"/>
                </a:cubicBezTo>
                <a:lnTo>
                  <a:pt x="586987" y="2901366"/>
                </a:lnTo>
                <a:cubicBezTo>
                  <a:pt x="592044" y="2931610"/>
                  <a:pt x="594493" y="2962495"/>
                  <a:pt x="594451" y="2993823"/>
                </a:cubicBezTo>
                <a:cubicBezTo>
                  <a:pt x="595763" y="2999453"/>
                  <a:pt x="595822" y="3005122"/>
                  <a:pt x="595822" y="3010804"/>
                </a:cubicBezTo>
                <a:cubicBezTo>
                  <a:pt x="595822" y="3014626"/>
                  <a:pt x="595795" y="3018442"/>
                  <a:pt x="595229" y="3022244"/>
                </a:cubicBezTo>
                <a:lnTo>
                  <a:pt x="594730" y="3022211"/>
                </a:lnTo>
                <a:lnTo>
                  <a:pt x="594704" y="3022706"/>
                </a:lnTo>
                <a:lnTo>
                  <a:pt x="577585" y="3021080"/>
                </a:lnTo>
                <a:cubicBezTo>
                  <a:pt x="545211" y="3020553"/>
                  <a:pt x="513331" y="3017572"/>
                  <a:pt x="482159" y="3012018"/>
                </a:cubicBezTo>
                <a:cubicBezTo>
                  <a:pt x="476582" y="3012437"/>
                  <a:pt x="471253" y="3011489"/>
                  <a:pt x="465942" y="3010478"/>
                </a:cubicBezTo>
                <a:lnTo>
                  <a:pt x="465826" y="3009330"/>
                </a:lnTo>
                <a:cubicBezTo>
                  <a:pt x="286401" y="2979630"/>
                  <a:pt x="126428" y="2894586"/>
                  <a:pt x="5028" y="2772859"/>
                </a:cubicBezTo>
                <a:close/>
                <a:moveTo>
                  <a:pt x="0" y="3835888"/>
                </a:moveTo>
                <a:lnTo>
                  <a:pt x="0" y="3704734"/>
                </a:lnTo>
                <a:lnTo>
                  <a:pt x="9314" y="3702032"/>
                </a:lnTo>
                <a:cubicBezTo>
                  <a:pt x="235521" y="3618257"/>
                  <a:pt x="405837" y="3425697"/>
                  <a:pt x="452453" y="3190516"/>
                </a:cubicBezTo>
                <a:cubicBezTo>
                  <a:pt x="280459" y="3227190"/>
                  <a:pt x="132038" y="3324188"/>
                  <a:pt x="31903" y="3457400"/>
                </a:cubicBezTo>
                <a:lnTo>
                  <a:pt x="0" y="3506992"/>
                </a:lnTo>
                <a:lnTo>
                  <a:pt x="0" y="3300549"/>
                </a:lnTo>
                <a:lnTo>
                  <a:pt x="5025" y="3294705"/>
                </a:lnTo>
                <a:cubicBezTo>
                  <a:pt x="126426" y="3173934"/>
                  <a:pt x="286398" y="3089558"/>
                  <a:pt x="465823" y="3060092"/>
                </a:cubicBezTo>
                <a:lnTo>
                  <a:pt x="465940" y="3058953"/>
                </a:lnTo>
                <a:cubicBezTo>
                  <a:pt x="471249" y="3057951"/>
                  <a:pt x="476577" y="3057010"/>
                  <a:pt x="482153" y="3057426"/>
                </a:cubicBezTo>
                <a:cubicBezTo>
                  <a:pt x="513336" y="3051913"/>
                  <a:pt x="545229" y="3048955"/>
                  <a:pt x="577614" y="3048432"/>
                </a:cubicBezTo>
                <a:lnTo>
                  <a:pt x="594702" y="3046822"/>
                </a:lnTo>
                <a:lnTo>
                  <a:pt x="594728" y="3047312"/>
                </a:lnTo>
                <a:lnTo>
                  <a:pt x="595226" y="3047280"/>
                </a:lnTo>
                <a:lnTo>
                  <a:pt x="595820" y="3058630"/>
                </a:lnTo>
                <a:cubicBezTo>
                  <a:pt x="595820" y="3064266"/>
                  <a:pt x="595761" y="3069889"/>
                  <a:pt x="594449" y="3075472"/>
                </a:cubicBezTo>
                <a:cubicBezTo>
                  <a:pt x="594491" y="3106561"/>
                  <a:pt x="592041" y="3137210"/>
                  <a:pt x="586982" y="3167222"/>
                </a:cubicBezTo>
                <a:lnTo>
                  <a:pt x="586444" y="3173846"/>
                </a:lnTo>
                <a:cubicBezTo>
                  <a:pt x="586274" y="3173851"/>
                  <a:pt x="586106" y="3173856"/>
                  <a:pt x="585938" y="3173908"/>
                </a:cubicBezTo>
                <a:cubicBezTo>
                  <a:pt x="541948" y="3480240"/>
                  <a:pt x="321278" y="3731813"/>
                  <a:pt x="26396" y="3829400"/>
                </a:cubicBezTo>
                <a:close/>
                <a:moveTo>
                  <a:pt x="0" y="4056079"/>
                </a:moveTo>
                <a:lnTo>
                  <a:pt x="0" y="3923091"/>
                </a:lnTo>
                <a:lnTo>
                  <a:pt x="9850" y="3925425"/>
                </a:lnTo>
                <a:cubicBezTo>
                  <a:pt x="194718" y="3982914"/>
                  <a:pt x="351664" y="4101018"/>
                  <a:pt x="456028" y="4255797"/>
                </a:cubicBezTo>
                <a:lnTo>
                  <a:pt x="484473" y="4305008"/>
                </a:lnTo>
                <a:lnTo>
                  <a:pt x="333423" y="4305008"/>
                </a:lnTo>
                <a:lnTo>
                  <a:pt x="281300" y="4241205"/>
                </a:lnTo>
                <a:cubicBezTo>
                  <a:pt x="223282" y="4178491"/>
                  <a:pt x="153561" y="4126262"/>
                  <a:pt x="75476" y="4087725"/>
                </a:cubicBezTo>
                <a:close/>
                <a:moveTo>
                  <a:pt x="0" y="4305008"/>
                </a:moveTo>
                <a:lnTo>
                  <a:pt x="0" y="4256099"/>
                </a:lnTo>
                <a:lnTo>
                  <a:pt x="8327" y="4271827"/>
                </a:lnTo>
                <a:lnTo>
                  <a:pt x="35009" y="430500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7" name="Rectangle 16">
            <a:extLst>
              <a:ext uri="{FF2B5EF4-FFF2-40B4-BE49-F238E27FC236}">
                <a16:creationId xmlns:a16="http://schemas.microsoft.com/office/drawing/2014/main" id="{1B26E892-1320-40AA-9CA1-246721C187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28592" y="620720"/>
            <a:ext cx="7323231" cy="55931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E3C13C7-910F-64DE-BA6C-507FA33DA037}"/>
              </a:ext>
            </a:extLst>
          </p:cNvPr>
          <p:cNvSpPr>
            <a:spLocks noGrp="1"/>
          </p:cNvSpPr>
          <p:nvPr>
            <p:ph type="title"/>
          </p:nvPr>
        </p:nvSpPr>
        <p:spPr>
          <a:xfrm>
            <a:off x="4713224" y="1105351"/>
            <a:ext cx="6353967" cy="3023981"/>
          </a:xfrm>
        </p:spPr>
        <p:txBody>
          <a:bodyPr vert="horz" lIns="91440" tIns="45720" rIns="91440" bIns="45720" rtlCol="0" anchor="b">
            <a:normAutofit/>
          </a:bodyPr>
          <a:lstStyle/>
          <a:p>
            <a:r>
              <a:rPr lang="en-US" sz="4800" spc="200" dirty="0">
                <a:solidFill>
                  <a:srgbClr val="FFFFFF"/>
                </a:solidFill>
              </a:rPr>
              <a:t>Questions?</a:t>
            </a:r>
          </a:p>
        </p:txBody>
      </p:sp>
      <p:cxnSp>
        <p:nvCxnSpPr>
          <p:cNvPr id="19" name="Straight Connector 18">
            <a:extLst>
              <a:ext uri="{FF2B5EF4-FFF2-40B4-BE49-F238E27FC236}">
                <a16:creationId xmlns:a16="http://schemas.microsoft.com/office/drawing/2014/main" id="{C9A1F79C-E4D1-4AAE-BA11-3A09005252E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842932" y="4214336"/>
            <a:ext cx="512064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useBgFill="1">
        <p:nvSpPr>
          <p:cNvPr id="21" name="Rectangle 20">
            <a:extLst>
              <a:ext uri="{FF2B5EF4-FFF2-40B4-BE49-F238E27FC236}">
                <a16:creationId xmlns:a16="http://schemas.microsoft.com/office/drawing/2014/main" id="{C170DF7D-4686-4BD5-A9CD-C896492846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64000" y="-2"/>
            <a:ext cx="164592" cy="68580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33184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070784CE-9DD4-4C2D-88B9-D219730A47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274"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B23E718-A4E4-2CF3-CB25-775ECEE60422}"/>
              </a:ext>
            </a:extLst>
          </p:cNvPr>
          <p:cNvSpPr>
            <a:spLocks noGrp="1"/>
          </p:cNvSpPr>
          <p:nvPr>
            <p:ph type="ctrTitle"/>
          </p:nvPr>
        </p:nvSpPr>
        <p:spPr>
          <a:xfrm>
            <a:off x="5258134" y="640080"/>
            <a:ext cx="6293689" cy="3652405"/>
          </a:xfrm>
        </p:spPr>
        <p:txBody>
          <a:bodyPr anchor="b">
            <a:normAutofit/>
          </a:bodyPr>
          <a:lstStyle/>
          <a:p>
            <a:pPr algn="l"/>
            <a:r>
              <a:rPr lang="en-US" sz="4400" dirty="0">
                <a:solidFill>
                  <a:schemeClr val="tx1">
                    <a:lumMod val="85000"/>
                    <a:lumOff val="15000"/>
                  </a:schemeClr>
                </a:solidFill>
              </a:rPr>
              <a:t>FROM Empire TO DECOLONIAL FEMINISM</a:t>
            </a:r>
          </a:p>
        </p:txBody>
      </p:sp>
      <p:sp>
        <p:nvSpPr>
          <p:cNvPr id="3" name="Subtitle 2">
            <a:extLst>
              <a:ext uri="{FF2B5EF4-FFF2-40B4-BE49-F238E27FC236}">
                <a16:creationId xmlns:a16="http://schemas.microsoft.com/office/drawing/2014/main" id="{8923E7F2-168D-C5F0-7F06-5F986B6F2222}"/>
              </a:ext>
            </a:extLst>
          </p:cNvPr>
          <p:cNvSpPr>
            <a:spLocks noGrp="1"/>
          </p:cNvSpPr>
          <p:nvPr>
            <p:ph type="subTitle" idx="1"/>
          </p:nvPr>
        </p:nvSpPr>
        <p:spPr>
          <a:xfrm>
            <a:off x="5271524" y="4460708"/>
            <a:ext cx="6280299" cy="1757211"/>
          </a:xfrm>
        </p:spPr>
        <p:txBody>
          <a:bodyPr anchor="t">
            <a:normAutofit/>
          </a:bodyPr>
          <a:lstStyle/>
          <a:p>
            <a:pPr>
              <a:lnSpc>
                <a:spcPct val="90000"/>
              </a:lnSpc>
            </a:pPr>
            <a:r>
              <a:rPr lang="en-US" sz="2000" dirty="0">
                <a:solidFill>
                  <a:schemeClr val="tx1">
                    <a:lumMod val="85000"/>
                    <a:lumOff val="15000"/>
                  </a:schemeClr>
                </a:solidFill>
              </a:rPr>
              <a:t>23 February 2024</a:t>
            </a:r>
          </a:p>
          <a:p>
            <a:pPr>
              <a:lnSpc>
                <a:spcPct val="90000"/>
              </a:lnSpc>
            </a:pPr>
            <a:endParaRPr lang="en-US" sz="1400" dirty="0">
              <a:solidFill>
                <a:schemeClr val="tx1">
                  <a:lumMod val="85000"/>
                  <a:lumOff val="15000"/>
                </a:schemeClr>
              </a:solidFill>
            </a:endParaRPr>
          </a:p>
          <a:p>
            <a:pPr>
              <a:lnSpc>
                <a:spcPct val="90000"/>
              </a:lnSpc>
            </a:pPr>
            <a:endParaRPr lang="en-US" sz="1400" dirty="0">
              <a:solidFill>
                <a:schemeClr val="tx1">
                  <a:lumMod val="85000"/>
                  <a:lumOff val="15000"/>
                </a:schemeClr>
              </a:solidFill>
            </a:endParaRPr>
          </a:p>
          <a:p>
            <a:pPr>
              <a:lnSpc>
                <a:spcPct val="90000"/>
              </a:lnSpc>
            </a:pPr>
            <a:endParaRPr lang="en-US" sz="1400" dirty="0">
              <a:solidFill>
                <a:schemeClr val="tx1">
                  <a:lumMod val="85000"/>
                  <a:lumOff val="15000"/>
                </a:schemeClr>
              </a:solidFill>
            </a:endParaRPr>
          </a:p>
          <a:p>
            <a:pPr>
              <a:lnSpc>
                <a:spcPct val="90000"/>
              </a:lnSpc>
            </a:pPr>
            <a:endParaRPr lang="en-US" sz="1400" dirty="0">
              <a:solidFill>
                <a:schemeClr val="tx1">
                  <a:lumMod val="85000"/>
                  <a:lumOff val="15000"/>
                </a:schemeClr>
              </a:solidFill>
            </a:endParaRPr>
          </a:p>
          <a:p>
            <a:pPr>
              <a:lnSpc>
                <a:spcPct val="90000"/>
              </a:lnSpc>
            </a:pPr>
            <a:endParaRPr lang="en-US" sz="1200" dirty="0">
              <a:solidFill>
                <a:schemeClr val="tx1">
                  <a:lumMod val="85000"/>
                  <a:lumOff val="15000"/>
                </a:schemeClr>
              </a:solidFill>
            </a:endParaRPr>
          </a:p>
          <a:p>
            <a:pPr>
              <a:lnSpc>
                <a:spcPct val="90000"/>
              </a:lnSpc>
            </a:pPr>
            <a:r>
              <a:rPr lang="en-US" sz="1200" dirty="0">
                <a:solidFill>
                  <a:schemeClr val="tx1">
                    <a:lumMod val="85000"/>
                    <a:lumOff val="15000"/>
                  </a:schemeClr>
                </a:solidFill>
              </a:rPr>
              <a:t>Image: James Sant, </a:t>
            </a:r>
            <a:r>
              <a:rPr lang="en-US" sz="1200" i="1" dirty="0">
                <a:solidFill>
                  <a:schemeClr val="tx1">
                    <a:lumMod val="85000"/>
                    <a:lumOff val="15000"/>
                  </a:schemeClr>
                </a:solidFill>
              </a:rPr>
              <a:t>Captain Colin Mackenzie </a:t>
            </a:r>
            <a:r>
              <a:rPr lang="en-US" sz="1200" dirty="0">
                <a:solidFill>
                  <a:schemeClr val="tx1">
                    <a:lumMod val="85000"/>
                    <a:lumOff val="15000"/>
                  </a:schemeClr>
                </a:solidFill>
              </a:rPr>
              <a:t>(c.1842). Oil paint on canvas.</a:t>
            </a:r>
          </a:p>
        </p:txBody>
      </p:sp>
      <p:pic>
        <p:nvPicPr>
          <p:cNvPr id="6" name="Picture 5" descr="A picture containing text&#10;&#10;Description automatically generated">
            <a:extLst>
              <a:ext uri="{FF2B5EF4-FFF2-40B4-BE49-F238E27FC236}">
                <a16:creationId xmlns:a16="http://schemas.microsoft.com/office/drawing/2014/main" id="{2458BB87-FA63-80C9-1EE3-66F8A94E8C1B}"/>
              </a:ext>
            </a:extLst>
          </p:cNvPr>
          <p:cNvPicPr>
            <a:picLocks noChangeAspect="1"/>
          </p:cNvPicPr>
          <p:nvPr/>
        </p:nvPicPr>
        <p:blipFill>
          <a:blip r:embed="rId2"/>
          <a:stretch>
            <a:fillRect/>
          </a:stretch>
        </p:blipFill>
        <p:spPr>
          <a:xfrm>
            <a:off x="902670" y="620720"/>
            <a:ext cx="3456600" cy="5597733"/>
          </a:xfrm>
          <a:prstGeom prst="rect">
            <a:avLst/>
          </a:prstGeom>
        </p:spPr>
      </p:pic>
      <p:cxnSp>
        <p:nvCxnSpPr>
          <p:cNvPr id="19" name="Straight Connector 18">
            <a:extLst>
              <a:ext uri="{FF2B5EF4-FFF2-40B4-BE49-F238E27FC236}">
                <a16:creationId xmlns:a16="http://schemas.microsoft.com/office/drawing/2014/main" id="{640A410A-1838-4131-95A6-2BE4F8D412F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309640" y="4388141"/>
            <a:ext cx="58521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4998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7B7C6F6-4579-4D42-9857-ED1B2EE07B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7" y="4382347"/>
            <a:ext cx="5688020" cy="2153919"/>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111610-876C-BCEA-0A16-BC2379CBAD2C}"/>
              </a:ext>
            </a:extLst>
          </p:cNvPr>
          <p:cNvSpPr>
            <a:spLocks noGrp="1"/>
          </p:cNvSpPr>
          <p:nvPr>
            <p:ph type="title"/>
          </p:nvPr>
        </p:nvSpPr>
        <p:spPr>
          <a:xfrm>
            <a:off x="573024" y="4608575"/>
            <a:ext cx="5242560" cy="1765715"/>
          </a:xfrm>
        </p:spPr>
        <p:txBody>
          <a:bodyPr vert="horz" lIns="91440" tIns="45720" rIns="91440" bIns="45720" rtlCol="0">
            <a:normAutofit/>
          </a:bodyPr>
          <a:lstStyle/>
          <a:p>
            <a:pPr algn="r"/>
            <a:r>
              <a:rPr lang="en-US" sz="4400" kern="1200" cap="all" spc="200" baseline="0">
                <a:solidFill>
                  <a:srgbClr val="FFFFFF"/>
                </a:solidFill>
                <a:latin typeface="+mj-lt"/>
                <a:ea typeface="+mj-ea"/>
                <a:cs typeface="+mj-cs"/>
              </a:rPr>
              <a:t>overview</a:t>
            </a:r>
          </a:p>
        </p:txBody>
      </p:sp>
      <p:pic>
        <p:nvPicPr>
          <p:cNvPr id="5" name="Picture 4" descr="Map&#10;&#10;Description automatically generated">
            <a:extLst>
              <a:ext uri="{FF2B5EF4-FFF2-40B4-BE49-F238E27FC236}">
                <a16:creationId xmlns:a16="http://schemas.microsoft.com/office/drawing/2014/main" id="{21997876-6748-8298-3337-38F436530B66}"/>
              </a:ext>
            </a:extLst>
          </p:cNvPr>
          <p:cNvPicPr>
            <a:picLocks noChangeAspect="1"/>
          </p:cNvPicPr>
          <p:nvPr/>
        </p:nvPicPr>
        <p:blipFill rotWithShape="1">
          <a:blip r:embed="rId2"/>
          <a:srcRect t="4140" b="4140"/>
          <a:stretch/>
        </p:blipFill>
        <p:spPr>
          <a:xfrm>
            <a:off x="327547" y="321733"/>
            <a:ext cx="5688020" cy="3899748"/>
          </a:xfrm>
          <a:prstGeom prst="rect">
            <a:avLst/>
          </a:prstGeom>
        </p:spPr>
      </p:pic>
      <p:sp>
        <p:nvSpPr>
          <p:cNvPr id="12" name="Rectangle 11">
            <a:extLst>
              <a:ext uri="{FF2B5EF4-FFF2-40B4-BE49-F238E27FC236}">
                <a16:creationId xmlns:a16="http://schemas.microsoft.com/office/drawing/2014/main" id="{7E6D8249-E901-4E71-B15A-A7F5D7F7B0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76434" y="321732"/>
            <a:ext cx="5693835" cy="6214534"/>
          </a:xfrm>
          <a:prstGeom prst="rect">
            <a:avLst/>
          </a:prstGeom>
          <a:solidFill>
            <a:srgbClr val="6B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2224C303-656E-7503-60B3-AF54FED5B4B8}"/>
              </a:ext>
            </a:extLst>
          </p:cNvPr>
          <p:cNvSpPr>
            <a:spLocks noGrp="1"/>
          </p:cNvSpPr>
          <p:nvPr>
            <p:ph idx="1"/>
          </p:nvPr>
        </p:nvSpPr>
        <p:spPr>
          <a:xfrm>
            <a:off x="6661065" y="682906"/>
            <a:ext cx="4724573" cy="5549452"/>
          </a:xfrm>
        </p:spPr>
        <p:txBody>
          <a:bodyPr vert="horz" lIns="91440" tIns="45720" rIns="91440" bIns="45720" rtlCol="0" anchor="ctr">
            <a:normAutofit fontScale="92500" lnSpcReduction="10000"/>
          </a:bodyPr>
          <a:lstStyle/>
          <a:p>
            <a:pPr marL="0" indent="0">
              <a:spcBef>
                <a:spcPts val="0"/>
              </a:spcBef>
              <a:buNone/>
            </a:pPr>
            <a:endParaRPr lang="en-US" dirty="0">
              <a:solidFill>
                <a:srgbClr val="FFFFFF"/>
              </a:solidFill>
            </a:endParaRPr>
          </a:p>
          <a:p>
            <a:pPr marL="0" indent="0">
              <a:spcBef>
                <a:spcPts val="0"/>
              </a:spcBef>
              <a:buNone/>
            </a:pPr>
            <a:r>
              <a:rPr lang="en-US" sz="2000" dirty="0">
                <a:solidFill>
                  <a:srgbClr val="FFFFFF"/>
                </a:solidFill>
              </a:rPr>
              <a:t>In approaching imperialism, we examine how the project of modernity and ideas of progress are underpinned not necessarily by rationality, but its negation: primitive body and desires, atavistic states of being (“living like brutes”). </a:t>
            </a:r>
          </a:p>
          <a:p>
            <a:pPr marL="0" indent="0">
              <a:spcBef>
                <a:spcPts val="0"/>
              </a:spcBef>
              <a:buNone/>
            </a:pPr>
            <a:endParaRPr lang="en-US" sz="2000" dirty="0">
              <a:solidFill>
                <a:srgbClr val="FFFFFF"/>
              </a:solidFill>
            </a:endParaRPr>
          </a:p>
          <a:p>
            <a:pPr marL="0" indent="0">
              <a:spcBef>
                <a:spcPts val="0"/>
              </a:spcBef>
              <a:buNone/>
            </a:pPr>
            <a:r>
              <a:rPr lang="en-US" sz="2000" dirty="0">
                <a:solidFill>
                  <a:srgbClr val="FFFFFF"/>
                </a:solidFill>
              </a:rPr>
              <a:t>To trace the development of such ’hauntings’, and the way resistance can be articulated, we consider:</a:t>
            </a:r>
          </a:p>
          <a:p>
            <a:pPr>
              <a:spcBef>
                <a:spcPts val="0"/>
              </a:spcBef>
              <a:buClr>
                <a:schemeClr val="bg1"/>
              </a:buClr>
              <a:buSzPct val="120000"/>
              <a:buFont typeface="Arial" panose="020B0604020202020204" pitchFamily="34" charset="0"/>
              <a:buChar char="•"/>
            </a:pPr>
            <a:endParaRPr lang="en-US" sz="2000" dirty="0">
              <a:solidFill>
                <a:srgbClr val="FFFFFF"/>
              </a:solidFill>
            </a:endParaRPr>
          </a:p>
          <a:p>
            <a:pPr>
              <a:spcBef>
                <a:spcPts val="0"/>
              </a:spcBef>
              <a:buClr>
                <a:schemeClr val="bg1"/>
              </a:buClr>
              <a:buSzPct val="120000"/>
              <a:buFont typeface="Arial" panose="020B0604020202020204" pitchFamily="34" charset="0"/>
              <a:buChar char="•"/>
            </a:pPr>
            <a:r>
              <a:rPr lang="en-US" sz="2000" dirty="0">
                <a:solidFill>
                  <a:srgbClr val="FFFFFF"/>
                </a:solidFill>
              </a:rPr>
              <a:t>Man, politics and the pre-modern</a:t>
            </a:r>
          </a:p>
          <a:p>
            <a:pPr>
              <a:spcBef>
                <a:spcPts val="0"/>
              </a:spcBef>
              <a:buClr>
                <a:schemeClr val="bg1"/>
              </a:buClr>
              <a:buSzPct val="120000"/>
              <a:buFont typeface="Arial" panose="020B0604020202020204" pitchFamily="34" charset="0"/>
              <a:buChar char="•"/>
            </a:pPr>
            <a:r>
              <a:rPr lang="en-US" sz="2000" dirty="0">
                <a:solidFill>
                  <a:srgbClr val="FFFFFF"/>
                </a:solidFill>
              </a:rPr>
              <a:t>Imperialism and the emergence of articulated categories of race, gender and class</a:t>
            </a:r>
          </a:p>
          <a:p>
            <a:pPr>
              <a:spcBef>
                <a:spcPts val="0"/>
              </a:spcBef>
              <a:buClr>
                <a:schemeClr val="bg1"/>
              </a:buClr>
              <a:buSzPct val="120000"/>
              <a:buFont typeface="Arial" panose="020B0604020202020204" pitchFamily="34" charset="0"/>
              <a:buChar char="•"/>
            </a:pPr>
            <a:r>
              <a:rPr lang="en-US" sz="2000" dirty="0">
                <a:solidFill>
                  <a:srgbClr val="FFFFFF"/>
                </a:solidFill>
              </a:rPr>
              <a:t>Securing the nation-state </a:t>
            </a:r>
          </a:p>
          <a:p>
            <a:pPr>
              <a:spcBef>
                <a:spcPts val="0"/>
              </a:spcBef>
              <a:buClr>
                <a:schemeClr val="bg1"/>
              </a:buClr>
              <a:buSzPct val="120000"/>
              <a:buFont typeface="Arial" panose="020B0604020202020204" pitchFamily="34" charset="0"/>
              <a:buChar char="•"/>
            </a:pPr>
            <a:r>
              <a:rPr lang="en-US" sz="2000" dirty="0">
                <a:solidFill>
                  <a:srgbClr val="FFFFFF"/>
                </a:solidFill>
              </a:rPr>
              <a:t>The construction of hegemonic masculinities in the world gender order </a:t>
            </a:r>
          </a:p>
          <a:p>
            <a:pPr>
              <a:spcBef>
                <a:spcPts val="0"/>
              </a:spcBef>
              <a:buClr>
                <a:schemeClr val="bg1"/>
              </a:buClr>
              <a:buSzPct val="120000"/>
              <a:buFont typeface="Arial" panose="020B0604020202020204" pitchFamily="34" charset="0"/>
              <a:buChar char="•"/>
            </a:pPr>
            <a:r>
              <a:rPr lang="en-US" sz="2000" dirty="0">
                <a:solidFill>
                  <a:srgbClr val="FFFFFF"/>
                </a:solidFill>
              </a:rPr>
              <a:t>Decolonial feminism as a tool of resistance</a:t>
            </a:r>
          </a:p>
          <a:p>
            <a:pPr>
              <a:spcBef>
                <a:spcPts val="0"/>
              </a:spcBef>
              <a:buClr>
                <a:schemeClr val="bg1"/>
              </a:buClr>
              <a:buSzPct val="120000"/>
              <a:buFont typeface="Arial" panose="020B0604020202020204" pitchFamily="34" charset="0"/>
              <a:buChar char="•"/>
            </a:pPr>
            <a:endParaRPr lang="en-US" sz="2000" dirty="0">
              <a:solidFill>
                <a:srgbClr val="FFFFFF"/>
              </a:solidFill>
            </a:endParaRPr>
          </a:p>
          <a:p>
            <a:pPr marL="0" indent="0">
              <a:spcBef>
                <a:spcPts val="0"/>
              </a:spcBef>
              <a:buNone/>
            </a:pPr>
            <a:endParaRPr lang="en-US" sz="1200" dirty="0">
              <a:solidFill>
                <a:srgbClr val="FFFFFF"/>
              </a:solidFill>
            </a:endParaRPr>
          </a:p>
          <a:p>
            <a:pPr marL="0" indent="0">
              <a:spcBef>
                <a:spcPts val="0"/>
              </a:spcBef>
              <a:buNone/>
            </a:pPr>
            <a:endParaRPr lang="en-US" sz="1200" dirty="0">
              <a:solidFill>
                <a:srgbClr val="FFFFFF"/>
              </a:solidFill>
            </a:endParaRPr>
          </a:p>
          <a:p>
            <a:pPr marL="0" indent="0">
              <a:spcBef>
                <a:spcPts val="0"/>
              </a:spcBef>
              <a:buNone/>
            </a:pPr>
            <a:r>
              <a:rPr lang="en-US" sz="1200" dirty="0">
                <a:solidFill>
                  <a:srgbClr val="FFFFFF"/>
                </a:solidFill>
              </a:rPr>
              <a:t>Image: J. C. R. </a:t>
            </a:r>
            <a:r>
              <a:rPr lang="en-US" sz="1200" dirty="0" err="1">
                <a:solidFill>
                  <a:srgbClr val="FFFFFF"/>
                </a:solidFill>
              </a:rPr>
              <a:t>Colomb</a:t>
            </a:r>
            <a:r>
              <a:rPr lang="en-US" sz="1200" dirty="0">
                <a:solidFill>
                  <a:srgbClr val="FFFFFF"/>
                </a:solidFill>
              </a:rPr>
              <a:t>, </a:t>
            </a:r>
            <a:r>
              <a:rPr lang="en-US" sz="1200" i="1" dirty="0">
                <a:solidFill>
                  <a:srgbClr val="FFFFFF"/>
                </a:solidFill>
              </a:rPr>
              <a:t>Imperial Federation, map of the world showing the extent of the British Empire in 1886</a:t>
            </a:r>
            <a:r>
              <a:rPr lang="en-US" sz="1200" dirty="0">
                <a:solidFill>
                  <a:srgbClr val="FFFFFF"/>
                </a:solidFill>
              </a:rPr>
              <a:t>.</a:t>
            </a:r>
          </a:p>
        </p:txBody>
      </p:sp>
    </p:spTree>
    <p:extLst>
      <p:ext uri="{BB962C8B-B14F-4D97-AF65-F5344CB8AC3E}">
        <p14:creationId xmlns:p14="http://schemas.microsoft.com/office/powerpoint/2010/main" val="2613912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732A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5B63BB36-2F01-459A-322B-311D6AC31359}"/>
              </a:ext>
            </a:extLst>
          </p:cNvPr>
          <p:cNvSpPr>
            <a:spLocks noGrp="1"/>
          </p:cNvSpPr>
          <p:nvPr>
            <p:ph type="title"/>
          </p:nvPr>
        </p:nvSpPr>
        <p:spPr>
          <a:xfrm>
            <a:off x="524256" y="4767072"/>
            <a:ext cx="6594189" cy="1625210"/>
          </a:xfrm>
        </p:spPr>
        <p:txBody>
          <a:bodyPr>
            <a:normAutofit/>
          </a:bodyPr>
          <a:lstStyle/>
          <a:p>
            <a:pPr algn="r"/>
            <a:r>
              <a:rPr lang="en-US" dirty="0">
                <a:solidFill>
                  <a:srgbClr val="FFFFFF"/>
                </a:solidFill>
              </a:rPr>
              <a:t>Ulysses </a:t>
            </a:r>
            <a:r>
              <a:rPr lang="en-US" dirty="0" err="1">
                <a:solidFill>
                  <a:srgbClr val="FFFFFF"/>
                </a:solidFill>
              </a:rPr>
              <a:t>anD</a:t>
            </a:r>
            <a:r>
              <a:rPr lang="en-US" dirty="0">
                <a:solidFill>
                  <a:srgbClr val="FFFFFF"/>
                </a:solidFill>
              </a:rPr>
              <a:t> </a:t>
            </a:r>
            <a:br>
              <a:rPr lang="en-US" dirty="0">
                <a:solidFill>
                  <a:srgbClr val="FFFFFF"/>
                </a:solidFill>
              </a:rPr>
            </a:br>
            <a:r>
              <a:rPr lang="en-US" dirty="0">
                <a:solidFill>
                  <a:srgbClr val="FFFFFF"/>
                </a:solidFill>
              </a:rPr>
              <a:t>political thought</a:t>
            </a:r>
          </a:p>
        </p:txBody>
      </p:sp>
      <p:pic>
        <p:nvPicPr>
          <p:cNvPr id="4" name="Picture 3" descr="A picture containing wall, indoor, black, jar&#10;&#10;Description automatically generated">
            <a:extLst>
              <a:ext uri="{FF2B5EF4-FFF2-40B4-BE49-F238E27FC236}">
                <a16:creationId xmlns:a16="http://schemas.microsoft.com/office/drawing/2014/main" id="{24ACA4D5-CE9A-6EC5-1DF1-2CA7390F6722}"/>
              </a:ext>
            </a:extLst>
          </p:cNvPr>
          <p:cNvPicPr>
            <a:picLocks noChangeAspect="1"/>
          </p:cNvPicPr>
          <p:nvPr/>
        </p:nvPicPr>
        <p:blipFill rotWithShape="1">
          <a:blip r:embed="rId2"/>
          <a:srcRect l="12624" r="5513" b="2"/>
          <a:stretch/>
        </p:blipFill>
        <p:spPr>
          <a:xfrm>
            <a:off x="327547" y="321733"/>
            <a:ext cx="3448718" cy="4107392"/>
          </a:xfrm>
          <a:prstGeom prst="rect">
            <a:avLst/>
          </a:prstGeom>
        </p:spPr>
      </p:pic>
      <p:pic>
        <p:nvPicPr>
          <p:cNvPr id="5" name="Content Placeholder 4" descr="A picture containing indoor, crab, cooking, lobster&#10;&#10;Description automatically generated">
            <a:extLst>
              <a:ext uri="{FF2B5EF4-FFF2-40B4-BE49-F238E27FC236}">
                <a16:creationId xmlns:a16="http://schemas.microsoft.com/office/drawing/2014/main" id="{39EA50B1-50F3-52BE-34E5-2F4F4962C8C2}"/>
              </a:ext>
            </a:extLst>
          </p:cNvPr>
          <p:cNvPicPr>
            <a:picLocks noChangeAspect="1"/>
          </p:cNvPicPr>
          <p:nvPr/>
        </p:nvPicPr>
        <p:blipFill rotWithShape="1">
          <a:blip r:embed="rId3"/>
          <a:srcRect l="23291" r="20647" b="-2"/>
          <a:stretch/>
        </p:blipFill>
        <p:spPr>
          <a:xfrm>
            <a:off x="3925067" y="321732"/>
            <a:ext cx="3448718" cy="4106284"/>
          </a:xfrm>
          <a:prstGeom prst="rect">
            <a:avLst/>
          </a:prstGeom>
        </p:spPr>
      </p:pic>
      <p:sp>
        <p:nvSpPr>
          <p:cNvPr id="37" name="Rectangle 36">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0" name="Content Placeholder 20">
            <a:extLst>
              <a:ext uri="{FF2B5EF4-FFF2-40B4-BE49-F238E27FC236}">
                <a16:creationId xmlns:a16="http://schemas.microsoft.com/office/drawing/2014/main" id="{87E6CD54-B295-C457-E442-C2102C70D926}"/>
              </a:ext>
            </a:extLst>
          </p:cNvPr>
          <p:cNvSpPr>
            <a:spLocks noGrp="1"/>
          </p:cNvSpPr>
          <p:nvPr>
            <p:ph idx="1"/>
          </p:nvPr>
        </p:nvSpPr>
        <p:spPr>
          <a:xfrm>
            <a:off x="7736306" y="393724"/>
            <a:ext cx="3931438" cy="6070549"/>
          </a:xfrm>
        </p:spPr>
        <p:txBody>
          <a:bodyPr anchor="ctr">
            <a:normAutofit lnSpcReduction="10000"/>
          </a:bodyPr>
          <a:lstStyle/>
          <a:p>
            <a:r>
              <a:rPr lang="en-US" sz="2000" b="1" dirty="0">
                <a:solidFill>
                  <a:srgbClr val="FFFFFF"/>
                </a:solidFill>
              </a:rPr>
              <a:t>What makes us political animals/beings/individuals?</a:t>
            </a:r>
          </a:p>
          <a:p>
            <a:r>
              <a:rPr lang="en-US" sz="2000" dirty="0">
                <a:solidFill>
                  <a:srgbClr val="FFFFFF"/>
                </a:solidFill>
              </a:rPr>
              <a:t>For political thinkers, the episode of Ulysses and the sirens exemplifies rationality, autonomy and justifying restraint to obtain more freedom = the virtues of self-knowledge and self-restraint</a:t>
            </a:r>
          </a:p>
          <a:p>
            <a:r>
              <a:rPr lang="en-US" sz="2000" dirty="0">
                <a:solidFill>
                  <a:srgbClr val="FFFFFF"/>
                </a:solidFill>
              </a:rPr>
              <a:t>For feminist thinkers, the Odyssey is where we begin to hear </a:t>
            </a:r>
            <a:r>
              <a:rPr lang="en-US" sz="2000" i="1" dirty="0" err="1">
                <a:solidFill>
                  <a:srgbClr val="FFFFFF"/>
                </a:solidFill>
              </a:rPr>
              <a:t>muthos</a:t>
            </a:r>
            <a:r>
              <a:rPr lang="en-US" sz="2000" i="1" dirty="0">
                <a:solidFill>
                  <a:srgbClr val="FFFFFF"/>
                </a:solidFill>
              </a:rPr>
              <a:t>, </a:t>
            </a:r>
            <a:r>
              <a:rPr lang="en-US" sz="2000" dirty="0">
                <a:solidFill>
                  <a:srgbClr val="FFFFFF"/>
                </a:solidFill>
              </a:rPr>
              <a:t>the</a:t>
            </a:r>
            <a:r>
              <a:rPr lang="en-US" sz="2000" i="1" dirty="0">
                <a:solidFill>
                  <a:srgbClr val="FFFFFF"/>
                </a:solidFill>
              </a:rPr>
              <a:t> a</a:t>
            </a:r>
            <a:r>
              <a:rPr lang="en-US" sz="2000" dirty="0">
                <a:solidFill>
                  <a:srgbClr val="FFFFFF"/>
                </a:solidFill>
              </a:rPr>
              <a:t>uthoritative voice that speaks the political domain (and it excludes women)</a:t>
            </a:r>
          </a:p>
          <a:p>
            <a:pPr marL="310896" lvl="2" indent="0">
              <a:buNone/>
            </a:pPr>
            <a:r>
              <a:rPr lang="en-US" sz="1600" dirty="0">
                <a:solidFill>
                  <a:srgbClr val="FFFFFF"/>
                </a:solidFill>
              </a:rPr>
              <a:t>‘Mother,’ [Telemachus] says, ‘go back up into your quarters, and take up your own work, the loom and the distaff ... speech will be the business of men, all men, and of me most of all; for mine is the power in this household.’ </a:t>
            </a:r>
          </a:p>
          <a:p>
            <a:pPr marL="310896" lvl="2" indent="0">
              <a:buNone/>
            </a:pPr>
            <a:endParaRPr lang="en-US" sz="1600" dirty="0">
              <a:solidFill>
                <a:srgbClr val="FFFFFF"/>
              </a:solidFill>
            </a:endParaRPr>
          </a:p>
          <a:p>
            <a:r>
              <a:rPr lang="en-US" sz="1200" dirty="0">
                <a:solidFill>
                  <a:srgbClr val="FFFFFF"/>
                </a:solidFill>
              </a:rPr>
              <a:t>Image (from left to right): John William Waterhouse, </a:t>
            </a:r>
            <a:r>
              <a:rPr lang="en-US" sz="1200" i="1" dirty="0">
                <a:solidFill>
                  <a:srgbClr val="FFFFFF"/>
                </a:solidFill>
              </a:rPr>
              <a:t>Ulysses and the Sirens</a:t>
            </a:r>
            <a:r>
              <a:rPr lang="en-US" sz="1200" dirty="0">
                <a:solidFill>
                  <a:srgbClr val="FFFFFF"/>
                </a:solidFill>
              </a:rPr>
              <a:t>, 1891. Athenian red-figure stamnos decorated with Ulysses and the sirens on display at the British Museum, 5th century B.C.</a:t>
            </a:r>
          </a:p>
        </p:txBody>
      </p:sp>
    </p:spTree>
    <p:extLst>
      <p:ext uri="{BB962C8B-B14F-4D97-AF65-F5344CB8AC3E}">
        <p14:creationId xmlns:p14="http://schemas.microsoft.com/office/powerpoint/2010/main" val="20734600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6BC5B-79F7-6BDD-A852-BDF387F5D5F4}"/>
              </a:ext>
            </a:extLst>
          </p:cNvPr>
          <p:cNvSpPr>
            <a:spLocks noGrp="1"/>
          </p:cNvSpPr>
          <p:nvPr>
            <p:ph type="title"/>
          </p:nvPr>
        </p:nvSpPr>
        <p:spPr>
          <a:xfrm>
            <a:off x="1024128" y="585216"/>
            <a:ext cx="4867387" cy="1499616"/>
          </a:xfrm>
        </p:spPr>
        <p:txBody>
          <a:bodyPr>
            <a:normAutofit/>
          </a:bodyPr>
          <a:lstStyle/>
          <a:p>
            <a:r>
              <a:rPr lang="en-US" sz="4000" dirty="0"/>
              <a:t>Dante, Ulysses and desire unbound</a:t>
            </a:r>
          </a:p>
        </p:txBody>
      </p:sp>
      <p:sp>
        <p:nvSpPr>
          <p:cNvPr id="9" name="Content Placeholder 8">
            <a:extLst>
              <a:ext uri="{FF2B5EF4-FFF2-40B4-BE49-F238E27FC236}">
                <a16:creationId xmlns:a16="http://schemas.microsoft.com/office/drawing/2014/main" id="{B0752F3E-EA8F-F657-926A-28CB9877D59E}"/>
              </a:ext>
            </a:extLst>
          </p:cNvPr>
          <p:cNvSpPr>
            <a:spLocks noGrp="1"/>
          </p:cNvSpPr>
          <p:nvPr>
            <p:ph idx="1"/>
          </p:nvPr>
        </p:nvSpPr>
        <p:spPr>
          <a:xfrm>
            <a:off x="640067" y="2084832"/>
            <a:ext cx="5660419" cy="4773167"/>
          </a:xfrm>
        </p:spPr>
        <p:txBody>
          <a:bodyPr>
            <a:normAutofit fontScale="47500" lnSpcReduction="20000"/>
          </a:bodyPr>
          <a:lstStyle/>
          <a:p>
            <a:r>
              <a:rPr lang="en-US" sz="3600" b="1" dirty="0"/>
              <a:t>Ulysses as the heroic, flawed hero = the ultimate trespasser</a:t>
            </a:r>
          </a:p>
          <a:p>
            <a:endParaRPr lang="en-US" sz="3600" b="1" dirty="0"/>
          </a:p>
          <a:p>
            <a:r>
              <a:rPr lang="en-US" sz="3600" i="1" dirty="0"/>
              <a:t>Considerate la </a:t>
            </a:r>
            <a:r>
              <a:rPr lang="en-US" sz="3600" i="1" dirty="0" err="1"/>
              <a:t>vostra</a:t>
            </a:r>
            <a:r>
              <a:rPr lang="en-US" sz="3600" i="1" dirty="0"/>
              <a:t> </a:t>
            </a:r>
            <a:r>
              <a:rPr lang="en-US" sz="3600" i="1" dirty="0" err="1"/>
              <a:t>semenza</a:t>
            </a:r>
            <a:r>
              <a:rPr lang="en-US" sz="3600" i="1" dirty="0"/>
              <a:t>:</a:t>
            </a:r>
          </a:p>
          <a:p>
            <a:r>
              <a:rPr lang="en-US" sz="3600" i="1" dirty="0" err="1"/>
              <a:t>Fatti</a:t>
            </a:r>
            <a:r>
              <a:rPr lang="en-US" sz="3600" i="1" dirty="0"/>
              <a:t> non </a:t>
            </a:r>
            <a:r>
              <a:rPr lang="en-US" sz="3600" i="1" dirty="0" err="1"/>
              <a:t>foste</a:t>
            </a:r>
            <a:r>
              <a:rPr lang="en-US" sz="3600" i="1" dirty="0"/>
              <a:t> a </a:t>
            </a:r>
            <a:r>
              <a:rPr lang="en-US" sz="3600" i="1" dirty="0" err="1"/>
              <a:t>viver</a:t>
            </a:r>
            <a:r>
              <a:rPr lang="en-US" sz="3600" i="1" dirty="0"/>
              <a:t> come </a:t>
            </a:r>
            <a:r>
              <a:rPr lang="en-US" sz="3600" i="1" dirty="0" err="1"/>
              <a:t>bruti</a:t>
            </a:r>
            <a:r>
              <a:rPr lang="en-US" sz="3600" i="1" dirty="0"/>
              <a:t>,</a:t>
            </a:r>
          </a:p>
          <a:p>
            <a:r>
              <a:rPr lang="en-US" sz="3600" i="1" dirty="0"/>
              <a:t>Ma per </a:t>
            </a:r>
            <a:r>
              <a:rPr lang="en-US" sz="3600" i="1" dirty="0" err="1"/>
              <a:t>seguir</a:t>
            </a:r>
            <a:r>
              <a:rPr lang="en-US" sz="3600" i="1" dirty="0"/>
              <a:t> </a:t>
            </a:r>
            <a:r>
              <a:rPr lang="en-US" sz="3600" i="1" dirty="0" err="1"/>
              <a:t>virtute</a:t>
            </a:r>
            <a:r>
              <a:rPr lang="en-US" sz="3600" i="1" dirty="0"/>
              <a:t> e </a:t>
            </a:r>
            <a:r>
              <a:rPr lang="en-US" sz="3600" i="1" dirty="0" err="1"/>
              <a:t>conoscenza</a:t>
            </a:r>
            <a:r>
              <a:rPr lang="en-US" sz="3600" i="1" dirty="0"/>
              <a:t>.</a:t>
            </a:r>
          </a:p>
          <a:p>
            <a:endParaRPr lang="en-US" sz="3600" dirty="0"/>
          </a:p>
          <a:p>
            <a:pPr>
              <a:lnSpc>
                <a:spcPct val="170000"/>
              </a:lnSpc>
            </a:pPr>
            <a:r>
              <a:rPr lang="en-US" sz="3600" dirty="0"/>
              <a:t>Consider well the seed that gave you birth:</a:t>
            </a:r>
            <a:br>
              <a:rPr lang="en-US" sz="3600" dirty="0"/>
            </a:br>
            <a:r>
              <a:rPr lang="en-US" sz="3600" dirty="0"/>
              <a:t>you were not made to live your lives as </a:t>
            </a:r>
            <a:r>
              <a:rPr lang="en-US" sz="3600" b="1" dirty="0"/>
              <a:t>brutes</a:t>
            </a:r>
            <a:r>
              <a:rPr lang="en-US" sz="3600" dirty="0"/>
              <a:t>,</a:t>
            </a:r>
            <a:br>
              <a:rPr lang="en-US" sz="3600" dirty="0"/>
            </a:br>
            <a:r>
              <a:rPr lang="en-US" sz="3600" dirty="0"/>
              <a:t>but to be followers of worth and knowledge.’</a:t>
            </a:r>
          </a:p>
          <a:p>
            <a:pPr algn="r"/>
            <a:endParaRPr lang="en-US" dirty="0"/>
          </a:p>
          <a:p>
            <a:pPr algn="r"/>
            <a:r>
              <a:rPr lang="en-US" dirty="0"/>
              <a:t>Divina Commedia, ‘Inferno’, canto 26, 118-120</a:t>
            </a:r>
          </a:p>
          <a:p>
            <a:pPr algn="r"/>
            <a:r>
              <a:rPr lang="en-US" dirty="0"/>
              <a:t>Image: </a:t>
            </a:r>
            <a:r>
              <a:rPr lang="en-GB" b="0" i="0" u="none" strike="noStrike" dirty="0">
                <a:solidFill>
                  <a:srgbClr val="202122"/>
                </a:solidFill>
                <a:effectLst/>
              </a:rPr>
              <a:t>Gustave </a:t>
            </a:r>
            <a:r>
              <a:rPr lang="en-GB" b="0" i="0" u="none" strike="noStrike" dirty="0" err="1">
                <a:solidFill>
                  <a:srgbClr val="202122"/>
                </a:solidFill>
                <a:effectLst/>
              </a:rPr>
              <a:t>Doré</a:t>
            </a:r>
            <a:r>
              <a:rPr lang="en-GB" b="0" i="0" u="none" strike="noStrike" dirty="0">
                <a:solidFill>
                  <a:srgbClr val="202122"/>
                </a:solidFill>
                <a:effectLst/>
              </a:rPr>
              <a:t>, </a:t>
            </a:r>
            <a:r>
              <a:rPr lang="en-GB" b="0" i="1" u="none" strike="noStrike" dirty="0">
                <a:solidFill>
                  <a:srgbClr val="202122"/>
                </a:solidFill>
                <a:effectLst/>
              </a:rPr>
              <a:t>The Flaming Spirits of the evil Counsellors</a:t>
            </a:r>
          </a:p>
          <a:p>
            <a:pPr algn="r"/>
            <a:r>
              <a:rPr lang="en-GB" dirty="0">
                <a:solidFill>
                  <a:srgbClr val="202122"/>
                </a:solidFill>
              </a:rPr>
              <a:t>For more information: https://</a:t>
            </a:r>
            <a:r>
              <a:rPr lang="en-GB" dirty="0" err="1">
                <a:solidFill>
                  <a:srgbClr val="202122"/>
                </a:solidFill>
              </a:rPr>
              <a:t>digitaldante.columbia.edu</a:t>
            </a:r>
            <a:r>
              <a:rPr lang="en-GB" dirty="0">
                <a:solidFill>
                  <a:srgbClr val="202122"/>
                </a:solidFill>
              </a:rPr>
              <a:t>/</a:t>
            </a:r>
            <a:r>
              <a:rPr lang="en-GB" dirty="0" err="1">
                <a:solidFill>
                  <a:srgbClr val="202122"/>
                </a:solidFill>
              </a:rPr>
              <a:t>dante</a:t>
            </a:r>
            <a:r>
              <a:rPr lang="en-GB" dirty="0">
                <a:solidFill>
                  <a:srgbClr val="202122"/>
                </a:solidFill>
              </a:rPr>
              <a:t>/divine-comedy/inferno/inferno-26/</a:t>
            </a:r>
            <a:endParaRPr lang="en-US" dirty="0"/>
          </a:p>
        </p:txBody>
      </p:sp>
      <p:pic>
        <p:nvPicPr>
          <p:cNvPr id="5" name="Content Placeholder 4" descr="A picture containing text, indoor, nature&#10;&#10;Description automatically generated">
            <a:extLst>
              <a:ext uri="{FF2B5EF4-FFF2-40B4-BE49-F238E27FC236}">
                <a16:creationId xmlns:a16="http://schemas.microsoft.com/office/drawing/2014/main" id="{D0F06356-E38E-D074-76AE-C3277F8FC6CC}"/>
              </a:ext>
            </a:extLst>
          </p:cNvPr>
          <p:cNvPicPr>
            <a:picLocks noChangeAspect="1"/>
          </p:cNvPicPr>
          <p:nvPr/>
        </p:nvPicPr>
        <p:blipFill rotWithShape="1">
          <a:blip r:embed="rId2"/>
          <a:srcRect t="8483" b="8196"/>
          <a:stretch/>
        </p:blipFill>
        <p:spPr>
          <a:xfrm>
            <a:off x="6408770" y="734724"/>
            <a:ext cx="5455933" cy="5577840"/>
          </a:xfrm>
          <a:prstGeom prst="rect">
            <a:avLst/>
          </a:prstGeom>
        </p:spPr>
      </p:pic>
    </p:spTree>
    <p:extLst>
      <p:ext uri="{BB962C8B-B14F-4D97-AF65-F5344CB8AC3E}">
        <p14:creationId xmlns:p14="http://schemas.microsoft.com/office/powerpoint/2010/main" val="33392372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82FE9-B9B6-4EA4-4DC6-F31BF3E81846}"/>
              </a:ext>
            </a:extLst>
          </p:cNvPr>
          <p:cNvSpPr>
            <a:spLocks noGrp="1"/>
          </p:cNvSpPr>
          <p:nvPr>
            <p:ph type="title"/>
          </p:nvPr>
        </p:nvSpPr>
        <p:spPr>
          <a:xfrm>
            <a:off x="1024128" y="585216"/>
            <a:ext cx="3133581" cy="1499616"/>
          </a:xfrm>
        </p:spPr>
        <p:txBody>
          <a:bodyPr>
            <a:normAutofit/>
          </a:bodyPr>
          <a:lstStyle/>
          <a:p>
            <a:r>
              <a:rPr lang="en-US" sz="4000" dirty="0"/>
              <a:t>Hobbes and the state of nature </a:t>
            </a:r>
          </a:p>
        </p:txBody>
      </p:sp>
      <p:sp>
        <p:nvSpPr>
          <p:cNvPr id="3" name="Content Placeholder 2">
            <a:extLst>
              <a:ext uri="{FF2B5EF4-FFF2-40B4-BE49-F238E27FC236}">
                <a16:creationId xmlns:a16="http://schemas.microsoft.com/office/drawing/2014/main" id="{027164B4-4FE6-5365-67BE-C6D33023C7A1}"/>
              </a:ext>
            </a:extLst>
          </p:cNvPr>
          <p:cNvSpPr>
            <a:spLocks noGrp="1"/>
          </p:cNvSpPr>
          <p:nvPr>
            <p:ph idx="1"/>
          </p:nvPr>
        </p:nvSpPr>
        <p:spPr>
          <a:xfrm>
            <a:off x="717174" y="2088201"/>
            <a:ext cx="3279687" cy="4890304"/>
          </a:xfrm>
        </p:spPr>
        <p:txBody>
          <a:bodyPr>
            <a:normAutofit fontScale="85000" lnSpcReduction="20000"/>
          </a:bodyPr>
          <a:lstStyle/>
          <a:p>
            <a:r>
              <a:rPr lang="en-US" sz="1900" dirty="0"/>
              <a:t>Whatsoever therefore is consequent to a time or war where every man is enemy to every man, the same is consequent to the time wherein men live without other security than what their own strength and their own invention shall furnish them withal. In such condition there is no place for industry, because the fruit thereof is uncertain, and consequently no culture of the earth, no navigation nor use of the commodities that may be imported by sea, no commodious building, no instruments of moving and removing such things as require much force, no knowledge of the face of the earth; no account of time, no arts, no letters, no society, and, which is worst of all, continual fear and danger of violent death, and </a:t>
            </a:r>
            <a:r>
              <a:rPr lang="en-US" sz="1900" b="1" dirty="0"/>
              <a:t>the life of man solitary, poor, nasty, brutish, and short. </a:t>
            </a:r>
          </a:p>
          <a:p>
            <a:pPr algn="r"/>
            <a:r>
              <a:rPr lang="en-US" sz="1500" dirty="0"/>
              <a:t>Chapter XIII, Of the Natural Condition of Mankind as Concerning Their Felicity and Misery in </a:t>
            </a:r>
            <a:r>
              <a:rPr lang="en-US" sz="1500" i="1" dirty="0"/>
              <a:t>Leviathan</a:t>
            </a:r>
            <a:r>
              <a:rPr lang="en-US" sz="1500" dirty="0"/>
              <a:t> (1651)</a:t>
            </a:r>
          </a:p>
        </p:txBody>
      </p:sp>
      <p:pic>
        <p:nvPicPr>
          <p:cNvPr id="7" name="Picture 6" descr="A picture containing text, book, old&#10;&#10;Description automatically generated">
            <a:extLst>
              <a:ext uri="{FF2B5EF4-FFF2-40B4-BE49-F238E27FC236}">
                <a16:creationId xmlns:a16="http://schemas.microsoft.com/office/drawing/2014/main" id="{0E09A444-1687-CD62-5C06-B53C55671115}"/>
              </a:ext>
            </a:extLst>
          </p:cNvPr>
          <p:cNvPicPr>
            <a:picLocks noChangeAspect="1"/>
          </p:cNvPicPr>
          <p:nvPr/>
        </p:nvPicPr>
        <p:blipFill>
          <a:blip r:embed="rId2"/>
          <a:stretch>
            <a:fillRect/>
          </a:stretch>
        </p:blipFill>
        <p:spPr>
          <a:xfrm>
            <a:off x="4328932" y="630281"/>
            <a:ext cx="7600818" cy="5434584"/>
          </a:xfrm>
          <a:prstGeom prst="rect">
            <a:avLst/>
          </a:prstGeom>
        </p:spPr>
      </p:pic>
      <p:sp>
        <p:nvSpPr>
          <p:cNvPr id="4" name="TextBox 3">
            <a:extLst>
              <a:ext uri="{FF2B5EF4-FFF2-40B4-BE49-F238E27FC236}">
                <a16:creationId xmlns:a16="http://schemas.microsoft.com/office/drawing/2014/main" id="{683BA11D-5324-0B33-78E7-28015CE9F27A}"/>
              </a:ext>
            </a:extLst>
          </p:cNvPr>
          <p:cNvSpPr txBox="1"/>
          <p:nvPr/>
        </p:nvSpPr>
        <p:spPr>
          <a:xfrm>
            <a:off x="4782191" y="6094690"/>
            <a:ext cx="6801838" cy="461665"/>
          </a:xfrm>
          <a:prstGeom prst="rect">
            <a:avLst/>
          </a:prstGeom>
          <a:noFill/>
        </p:spPr>
        <p:txBody>
          <a:bodyPr wrap="square" rtlCol="0">
            <a:spAutoFit/>
          </a:bodyPr>
          <a:lstStyle/>
          <a:p>
            <a:pPr algn="ctr"/>
            <a:r>
              <a:rPr lang="en-US" sz="1200" dirty="0"/>
              <a:t>Image: Frontispiece of Thomas Hobbes’ </a:t>
            </a:r>
            <a:r>
              <a:rPr lang="en-US" sz="1200" i="1" dirty="0"/>
              <a:t>De </a:t>
            </a:r>
            <a:r>
              <a:rPr lang="en-US" sz="1200" i="1" dirty="0" err="1"/>
              <a:t>Cive</a:t>
            </a:r>
            <a:r>
              <a:rPr lang="en-US" sz="1200" i="1" dirty="0"/>
              <a:t> </a:t>
            </a:r>
            <a:r>
              <a:rPr lang="en-US" sz="1200" dirty="0"/>
              <a:t>(On the Citizen), as it appeared in the original Paris edition of 1642. Work of the engraver Jean Matheus</a:t>
            </a:r>
          </a:p>
        </p:txBody>
      </p:sp>
    </p:spTree>
    <p:extLst>
      <p:ext uri="{BB962C8B-B14F-4D97-AF65-F5344CB8AC3E}">
        <p14:creationId xmlns:p14="http://schemas.microsoft.com/office/powerpoint/2010/main" val="13112003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5437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A9ED3A-4767-9D84-6646-67AF8F99EDE0}"/>
              </a:ext>
            </a:extLst>
          </p:cNvPr>
          <p:cNvSpPr>
            <a:spLocks noGrp="1"/>
          </p:cNvSpPr>
          <p:nvPr>
            <p:ph type="title"/>
          </p:nvPr>
        </p:nvSpPr>
        <p:spPr>
          <a:xfrm>
            <a:off x="524256" y="4767072"/>
            <a:ext cx="6594189" cy="1625210"/>
          </a:xfrm>
        </p:spPr>
        <p:txBody>
          <a:bodyPr>
            <a:normAutofit/>
          </a:bodyPr>
          <a:lstStyle/>
          <a:p>
            <a:pPr algn="r"/>
            <a:r>
              <a:rPr lang="en-US" dirty="0">
                <a:solidFill>
                  <a:srgbClr val="FFFFFF"/>
                </a:solidFill>
              </a:rPr>
              <a:t>Mastering nature, SUBJUGATING THE “OTHER”</a:t>
            </a:r>
          </a:p>
        </p:txBody>
      </p:sp>
      <p:pic>
        <p:nvPicPr>
          <p:cNvPr id="5" name="Content Placeholder 4" descr="A picture containing text&#10;&#10;Description automatically generated">
            <a:extLst>
              <a:ext uri="{FF2B5EF4-FFF2-40B4-BE49-F238E27FC236}">
                <a16:creationId xmlns:a16="http://schemas.microsoft.com/office/drawing/2014/main" id="{EBDB6568-32AF-096B-2C85-C99C2A6CF40B}"/>
              </a:ext>
            </a:extLst>
          </p:cNvPr>
          <p:cNvPicPr>
            <a:picLocks noChangeAspect="1"/>
          </p:cNvPicPr>
          <p:nvPr/>
        </p:nvPicPr>
        <p:blipFill rotWithShape="1">
          <a:blip r:embed="rId2"/>
          <a:srcRect t="3511" r="1" b="11227"/>
          <a:stretch/>
        </p:blipFill>
        <p:spPr>
          <a:xfrm>
            <a:off x="327547" y="321733"/>
            <a:ext cx="7058306" cy="4107392"/>
          </a:xfrm>
          <a:prstGeom prst="rect">
            <a:avLst/>
          </a:prstGeom>
        </p:spPr>
      </p:pic>
      <p:sp>
        <p:nvSpPr>
          <p:cNvPr id="14" name="Rectangle 13">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8">
            <a:extLst>
              <a:ext uri="{FF2B5EF4-FFF2-40B4-BE49-F238E27FC236}">
                <a16:creationId xmlns:a16="http://schemas.microsoft.com/office/drawing/2014/main" id="{48A93FA0-A23B-31D0-F6D1-2E24F998A066}"/>
              </a:ext>
            </a:extLst>
          </p:cNvPr>
          <p:cNvSpPr>
            <a:spLocks noGrp="1"/>
          </p:cNvSpPr>
          <p:nvPr>
            <p:ph idx="1"/>
          </p:nvPr>
        </p:nvSpPr>
        <p:spPr>
          <a:xfrm>
            <a:off x="7801337" y="601884"/>
            <a:ext cx="3866407" cy="5790398"/>
          </a:xfrm>
        </p:spPr>
        <p:txBody>
          <a:bodyPr anchor="ctr">
            <a:normAutofit/>
          </a:bodyPr>
          <a:lstStyle/>
          <a:p>
            <a:r>
              <a:rPr lang="en-US" sz="2000" dirty="0">
                <a:solidFill>
                  <a:srgbClr val="FFFFFF"/>
                </a:solidFill>
              </a:rPr>
              <a:t>According to Anne McClintock (1995), the imperialist project saw the birth of three orders: </a:t>
            </a:r>
          </a:p>
          <a:p>
            <a:pPr lvl="1">
              <a:buClr>
                <a:schemeClr val="bg1"/>
              </a:buClr>
            </a:pPr>
            <a:r>
              <a:rPr lang="en-US" dirty="0">
                <a:solidFill>
                  <a:srgbClr val="FFFFFF"/>
                </a:solidFill>
              </a:rPr>
              <a:t>The male, </a:t>
            </a:r>
            <a:r>
              <a:rPr lang="en-US" i="1" dirty="0">
                <a:solidFill>
                  <a:srgbClr val="FFFFFF"/>
                </a:solidFill>
              </a:rPr>
              <a:t>reproductive</a:t>
            </a:r>
            <a:r>
              <a:rPr lang="en-US" dirty="0">
                <a:solidFill>
                  <a:srgbClr val="FFFFFF"/>
                </a:solidFill>
              </a:rPr>
              <a:t> order of patriarchal monogamy</a:t>
            </a:r>
          </a:p>
          <a:p>
            <a:pPr lvl="1">
              <a:buClr>
                <a:schemeClr val="bg1"/>
              </a:buClr>
            </a:pPr>
            <a:r>
              <a:rPr lang="en-US" dirty="0">
                <a:solidFill>
                  <a:srgbClr val="FFFFFF"/>
                </a:solidFill>
              </a:rPr>
              <a:t>The white </a:t>
            </a:r>
            <a:r>
              <a:rPr lang="en-US" i="1" dirty="0">
                <a:solidFill>
                  <a:srgbClr val="FFFFFF"/>
                </a:solidFill>
              </a:rPr>
              <a:t>economic</a:t>
            </a:r>
            <a:r>
              <a:rPr lang="en-US" dirty="0">
                <a:solidFill>
                  <a:srgbClr val="FFFFFF"/>
                </a:solidFill>
              </a:rPr>
              <a:t> order of mining capital</a:t>
            </a:r>
          </a:p>
          <a:p>
            <a:pPr lvl="1">
              <a:buClr>
                <a:schemeClr val="bg1"/>
              </a:buClr>
            </a:pPr>
            <a:r>
              <a:rPr lang="en-US" dirty="0">
                <a:solidFill>
                  <a:srgbClr val="FFFFFF"/>
                </a:solidFill>
              </a:rPr>
              <a:t>The global, </a:t>
            </a:r>
            <a:r>
              <a:rPr lang="en-US" i="1" dirty="0">
                <a:solidFill>
                  <a:srgbClr val="FFFFFF"/>
                </a:solidFill>
              </a:rPr>
              <a:t>political</a:t>
            </a:r>
            <a:r>
              <a:rPr lang="en-US" dirty="0">
                <a:solidFill>
                  <a:srgbClr val="FFFFFF"/>
                </a:solidFill>
              </a:rPr>
              <a:t> order of empire</a:t>
            </a:r>
          </a:p>
          <a:p>
            <a:r>
              <a:rPr lang="en-US" sz="2000" dirty="0">
                <a:solidFill>
                  <a:srgbClr val="FFFFFF"/>
                </a:solidFill>
              </a:rPr>
              <a:t>The erotic fantasy of travel &amp; discovery (the feminized ‘virgin’ land), dominating the unknown </a:t>
            </a:r>
          </a:p>
          <a:p>
            <a:r>
              <a:rPr lang="en-GB" sz="2000" u="none" strike="noStrike" dirty="0">
                <a:solidFill>
                  <a:schemeClr val="bg1"/>
                </a:solidFill>
                <a:effectLst/>
              </a:rPr>
              <a:t>A situation of ambivalence: paranoia and megalomania = the fear of boundary loss and the delusion that comes with exceeding the boundaries</a:t>
            </a:r>
            <a:endParaRPr lang="en-US" sz="2000" dirty="0">
              <a:solidFill>
                <a:srgbClr val="FFFFFF"/>
              </a:solidFill>
            </a:endParaRPr>
          </a:p>
          <a:p>
            <a:r>
              <a:rPr lang="en-US" sz="1300" dirty="0">
                <a:solidFill>
                  <a:srgbClr val="FFFFFF"/>
                </a:solidFill>
              </a:rPr>
              <a:t>Image: </a:t>
            </a:r>
            <a:r>
              <a:rPr lang="en-US" sz="1300" dirty="0">
                <a:solidFill>
                  <a:schemeClr val="bg1"/>
                </a:solidFill>
              </a:rPr>
              <a:t>after an engraving by </a:t>
            </a:r>
            <a:r>
              <a:rPr lang="en-GB" sz="1300" b="0" i="0" u="none" strike="noStrike" dirty="0">
                <a:solidFill>
                  <a:schemeClr val="bg1"/>
                </a:solidFill>
                <a:effectLst/>
              </a:rPr>
              <a:t>Jan van der </a:t>
            </a:r>
            <a:r>
              <a:rPr lang="en-GB" sz="1300" b="0" i="0" u="none" strike="noStrike" dirty="0" err="1">
                <a:solidFill>
                  <a:schemeClr val="bg1"/>
                </a:solidFill>
                <a:effectLst/>
              </a:rPr>
              <a:t>Straet</a:t>
            </a:r>
            <a:r>
              <a:rPr lang="en-GB" sz="1300" b="0" i="0" u="none" strike="noStrike" dirty="0">
                <a:solidFill>
                  <a:schemeClr val="bg1"/>
                </a:solidFill>
                <a:effectLst/>
              </a:rPr>
              <a:t>, </a:t>
            </a:r>
            <a:r>
              <a:rPr lang="en-GB" sz="1300" b="0" i="1" u="none" strike="noStrike" dirty="0">
                <a:solidFill>
                  <a:schemeClr val="bg1"/>
                </a:solidFill>
                <a:effectLst/>
              </a:rPr>
              <a:t>The Discovery of America</a:t>
            </a:r>
            <a:r>
              <a:rPr lang="en-GB" sz="1300" b="0" i="0" u="none" strike="noStrike" dirty="0">
                <a:solidFill>
                  <a:schemeClr val="bg1"/>
                </a:solidFill>
                <a:effectLst/>
              </a:rPr>
              <a:t>, </a:t>
            </a:r>
            <a:r>
              <a:rPr lang="en-GB" sz="1300" u="none" strike="noStrike" dirty="0">
                <a:solidFill>
                  <a:schemeClr val="bg1"/>
                </a:solidFill>
                <a:effectLst/>
              </a:rPr>
              <a:t>c. 1587–89. </a:t>
            </a:r>
            <a:endParaRPr lang="en-US" sz="1300" dirty="0">
              <a:solidFill>
                <a:schemeClr val="bg1"/>
              </a:solidFill>
            </a:endParaRPr>
          </a:p>
        </p:txBody>
      </p:sp>
    </p:spTree>
    <p:extLst>
      <p:ext uri="{BB962C8B-B14F-4D97-AF65-F5344CB8AC3E}">
        <p14:creationId xmlns:p14="http://schemas.microsoft.com/office/powerpoint/2010/main" val="42803315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5D5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AD376AF-6BD2-BBEB-691B-9A958705E76D}"/>
              </a:ext>
            </a:extLst>
          </p:cNvPr>
          <p:cNvSpPr>
            <a:spLocks noGrp="1"/>
          </p:cNvSpPr>
          <p:nvPr>
            <p:ph type="title"/>
          </p:nvPr>
        </p:nvSpPr>
        <p:spPr>
          <a:xfrm>
            <a:off x="524256" y="4767072"/>
            <a:ext cx="6594189" cy="1625210"/>
          </a:xfrm>
        </p:spPr>
        <p:txBody>
          <a:bodyPr>
            <a:normAutofit/>
          </a:bodyPr>
          <a:lstStyle/>
          <a:p>
            <a:pPr algn="r"/>
            <a:r>
              <a:rPr lang="en-US" dirty="0">
                <a:solidFill>
                  <a:srgbClr val="FFFFFF"/>
                </a:solidFill>
              </a:rPr>
              <a:t>Securing (white) male re/production</a:t>
            </a:r>
          </a:p>
        </p:txBody>
      </p:sp>
      <p:pic>
        <p:nvPicPr>
          <p:cNvPr id="5" name="Content Placeholder 4" descr="A picture containing indoor, person, dancer&#10;&#10;Description automatically generated">
            <a:extLst>
              <a:ext uri="{FF2B5EF4-FFF2-40B4-BE49-F238E27FC236}">
                <a16:creationId xmlns:a16="http://schemas.microsoft.com/office/drawing/2014/main" id="{C010AEFA-7C7C-D3AB-E1C0-F8C0EC2A53D8}"/>
              </a:ext>
            </a:extLst>
          </p:cNvPr>
          <p:cNvPicPr>
            <a:picLocks noChangeAspect="1"/>
          </p:cNvPicPr>
          <p:nvPr/>
        </p:nvPicPr>
        <p:blipFill rotWithShape="1">
          <a:blip r:embed="rId2"/>
          <a:srcRect t="10313" r="1" b="47061"/>
          <a:stretch/>
        </p:blipFill>
        <p:spPr>
          <a:xfrm>
            <a:off x="327547" y="321733"/>
            <a:ext cx="7058306" cy="4107392"/>
          </a:xfrm>
          <a:prstGeom prst="rect">
            <a:avLst/>
          </a:prstGeom>
        </p:spPr>
      </p:pic>
      <p:sp>
        <p:nvSpPr>
          <p:cNvPr id="14" name="Rectangle 13">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8">
            <a:extLst>
              <a:ext uri="{FF2B5EF4-FFF2-40B4-BE49-F238E27FC236}">
                <a16:creationId xmlns:a16="http://schemas.microsoft.com/office/drawing/2014/main" id="{73757D63-A19E-BAC5-8D2C-829F5D5E58A5}"/>
              </a:ext>
            </a:extLst>
          </p:cNvPr>
          <p:cNvSpPr>
            <a:spLocks noGrp="1"/>
          </p:cNvSpPr>
          <p:nvPr>
            <p:ph idx="1"/>
          </p:nvPr>
        </p:nvSpPr>
        <p:spPr>
          <a:xfrm>
            <a:off x="7904747" y="637674"/>
            <a:ext cx="3633537" cy="5502803"/>
          </a:xfrm>
        </p:spPr>
        <p:txBody>
          <a:bodyPr anchor="ctr">
            <a:normAutofit fontScale="92500" lnSpcReduction="20000"/>
          </a:bodyPr>
          <a:lstStyle/>
          <a:p>
            <a:r>
              <a:rPr lang="en-US" sz="2000" b="1" dirty="0">
                <a:solidFill>
                  <a:srgbClr val="FFFFFF"/>
                </a:solidFill>
              </a:rPr>
              <a:t>The centrality of naming = controlling origin</a:t>
            </a:r>
          </a:p>
          <a:p>
            <a:r>
              <a:rPr lang="en-US" sz="2000" dirty="0">
                <a:solidFill>
                  <a:srgbClr val="FFFFFF"/>
                </a:solidFill>
              </a:rPr>
              <a:t>Historically, male desire for a guaranteed relation to origin – securing, as it does, male property and power – is contradicted by the sexual doubling of origins, by women’s visibly active roles in producing a child and men’s uncertain and fleeting contribution. </a:t>
            </a:r>
          </a:p>
          <a:p>
            <a:r>
              <a:rPr lang="en-US" sz="2000" dirty="0">
                <a:solidFill>
                  <a:srgbClr val="FFFFFF"/>
                </a:solidFill>
              </a:rPr>
              <a:t>To compensate for this, men diminish women’s contribution by reducing them to vessels and machines – mere bearers without creative agency or the power to name. (McClintock 1995, 29)</a:t>
            </a:r>
          </a:p>
          <a:p>
            <a:r>
              <a:rPr lang="en-US" sz="2000" b="1" dirty="0">
                <a:solidFill>
                  <a:srgbClr val="FFFFFF"/>
                </a:solidFill>
              </a:rPr>
              <a:t>This is a story of gender and racial dispossession!</a:t>
            </a:r>
          </a:p>
          <a:p>
            <a:endParaRPr lang="en-US" sz="1200" dirty="0">
              <a:solidFill>
                <a:srgbClr val="FFFFFF"/>
              </a:solidFill>
            </a:endParaRPr>
          </a:p>
          <a:p>
            <a:r>
              <a:rPr lang="en-US" sz="1200" dirty="0">
                <a:solidFill>
                  <a:srgbClr val="FFFFFF"/>
                </a:solidFill>
              </a:rPr>
              <a:t>Image: Jan van Eyck, Portrait of Giovanni(?) Arnolfini and his Wife, 1434. Can be viewed at The National Gallery, London.</a:t>
            </a:r>
          </a:p>
        </p:txBody>
      </p:sp>
    </p:spTree>
    <p:extLst>
      <p:ext uri="{BB962C8B-B14F-4D97-AF65-F5344CB8AC3E}">
        <p14:creationId xmlns:p14="http://schemas.microsoft.com/office/powerpoint/2010/main" val="23748193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tegral</Template>
  <TotalTime>2287</TotalTime>
  <Words>2958</Words>
  <Application>Microsoft Macintosh PowerPoint</Application>
  <PresentationFormat>Widescreen</PresentationFormat>
  <Paragraphs>237</Paragraphs>
  <Slides>29</Slides>
  <Notes>1</Notes>
  <HiddenSlides>0</HiddenSlides>
  <MMClips>3</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0" baseType="lpstr">
      <vt:lpstr>Arial</vt:lpstr>
      <vt:lpstr>Arial Black</vt:lpstr>
      <vt:lpstr>Calibri</vt:lpstr>
      <vt:lpstr>LiberationSerif</vt:lpstr>
      <vt:lpstr>Roboto</vt:lpstr>
      <vt:lpstr>Tw Cen MT</vt:lpstr>
      <vt:lpstr>Tw Cen MT Condensed</vt:lpstr>
      <vt:lpstr>Wingdings</vt:lpstr>
      <vt:lpstr>Wingdings 3</vt:lpstr>
      <vt:lpstr>Integral</vt:lpstr>
      <vt:lpstr>Diapositive think-cell</vt:lpstr>
      <vt:lpstr>PowerPoint Presentation</vt:lpstr>
      <vt:lpstr>SPIR alumni networking event for final &amp; 2nd year students</vt:lpstr>
      <vt:lpstr>FROM Empire TO DECOLONIAL FEMINISM</vt:lpstr>
      <vt:lpstr>overview</vt:lpstr>
      <vt:lpstr>Ulysses anD  political thought</vt:lpstr>
      <vt:lpstr>Dante, Ulysses and desire unbound</vt:lpstr>
      <vt:lpstr>Hobbes and the state of nature </vt:lpstr>
      <vt:lpstr>Mastering nature, SUBJUGATING THE “OTHER”</vt:lpstr>
      <vt:lpstr>Securing (white) male re/production</vt:lpstr>
      <vt:lpstr>Imperial complicity, Dangerous liminality</vt:lpstr>
      <vt:lpstr>Purity and contamination</vt:lpstr>
      <vt:lpstr>PowerPoint Presentation</vt:lpstr>
      <vt:lpstr>The haunting ‘other’</vt:lpstr>
      <vt:lpstr>PowerPoint Presentation</vt:lpstr>
      <vt:lpstr>PowerPoint Presentation</vt:lpstr>
      <vt:lpstr>Crossing borders</vt:lpstr>
      <vt:lpstr>Gender and the nation</vt:lpstr>
      <vt:lpstr>PowerPoint Presentation</vt:lpstr>
      <vt:lpstr>PowerPoint Presentation</vt:lpstr>
      <vt:lpstr>PowerPoint Presentation</vt:lpstr>
      <vt:lpstr>PowerPoint Presentation</vt:lpstr>
      <vt:lpstr>To summarise</vt:lpstr>
      <vt:lpstr>Hegemonic masculinity</vt:lpstr>
      <vt:lpstr>Chandra Talpade Mohanty: Under western eyes</vt:lpstr>
      <vt:lpstr>Maria lugones: toward a decolonial feminism</vt:lpstr>
      <vt:lpstr>PowerPoint Presentation</vt:lpstr>
      <vt:lpstr>PowerPoint Presentation</vt:lpstr>
      <vt:lpstr>TOPIC 5 : Readings for seminar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politics of sex</dc:title>
  <dc:creator>Alaya Forte</dc:creator>
  <cp:lastModifiedBy>Alaya Forte</cp:lastModifiedBy>
  <cp:revision>77</cp:revision>
  <dcterms:created xsi:type="dcterms:W3CDTF">2023-02-12T06:12:41Z</dcterms:created>
  <dcterms:modified xsi:type="dcterms:W3CDTF">2024-02-22T21:2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98fac97-8d33-4425-95a4-f76d2cce012e_Enabled">
    <vt:lpwstr>true</vt:lpwstr>
  </property>
  <property fmtid="{D5CDD505-2E9C-101B-9397-08002B2CF9AE}" pid="3" name="MSIP_Label_b98fac97-8d33-4425-95a4-f76d2cce012e_SetDate">
    <vt:lpwstr>2023-02-12T07:29:41Z</vt:lpwstr>
  </property>
  <property fmtid="{D5CDD505-2E9C-101B-9397-08002B2CF9AE}" pid="4" name="MSIP_Label_b98fac97-8d33-4425-95a4-f76d2cce012e_Method">
    <vt:lpwstr>Standard</vt:lpwstr>
  </property>
  <property fmtid="{D5CDD505-2E9C-101B-9397-08002B2CF9AE}" pid="5" name="MSIP_Label_b98fac97-8d33-4425-95a4-f76d2cce012e_Name">
    <vt:lpwstr>defa4170-0d19-0005-0004-bc88714345d2</vt:lpwstr>
  </property>
  <property fmtid="{D5CDD505-2E9C-101B-9397-08002B2CF9AE}" pid="6" name="MSIP_Label_b98fac97-8d33-4425-95a4-f76d2cce012e_SiteId">
    <vt:lpwstr>674dd0a1-ae62-42c7-a39f-69ee199537a8</vt:lpwstr>
  </property>
  <property fmtid="{D5CDD505-2E9C-101B-9397-08002B2CF9AE}" pid="7" name="MSIP_Label_b98fac97-8d33-4425-95a4-f76d2cce012e_ActionId">
    <vt:lpwstr>c5b30807-72d9-4908-a370-0bddc08c8d5c</vt:lpwstr>
  </property>
  <property fmtid="{D5CDD505-2E9C-101B-9397-08002B2CF9AE}" pid="8" name="MSIP_Label_b98fac97-8d33-4425-95a4-f76d2cce012e_ContentBits">
    <vt:lpwstr>0</vt:lpwstr>
  </property>
</Properties>
</file>